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.xml" ContentType="application/vnd.openxmlformats-officedocument.presentationml.notesSlide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tags/tag30.xml" ContentType="application/vnd.openxmlformats-officedocument.presentationml.tags+xml"/>
  <Override PartName="/ppt/notesSlides/notesSlide7.xml" ContentType="application/vnd.openxmlformats-officedocument.presentationml.notesSlide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tags/tag33.xml" ContentType="application/vnd.openxmlformats-officedocument.presentationml.tags+xml"/>
  <Override PartName="/ppt/notesSlides/notesSlide10.xml" ContentType="application/vnd.openxmlformats-officedocument.presentationml.notesSlide+xml"/>
  <Override PartName="/ppt/tags/tag34.xml" ContentType="application/vnd.openxmlformats-officedocument.presentationml.tags+xml"/>
  <Override PartName="/ppt/notesSlides/notesSlide11.xml" ContentType="application/vnd.openxmlformats-officedocument.presentationml.notesSlide+xml"/>
  <Override PartName="/ppt/tags/tag35.xml" ContentType="application/vnd.openxmlformats-officedocument.presentationml.tags+xml"/>
  <Override PartName="/ppt/notesSlides/notesSlide12.xml" ContentType="application/vnd.openxmlformats-officedocument.presentationml.notesSlide+xml"/>
  <Override PartName="/ppt/tags/tag36.xml" ContentType="application/vnd.openxmlformats-officedocument.presentationml.tags+xml"/>
  <Override PartName="/ppt/notesSlides/notesSlide13.xml" ContentType="application/vnd.openxmlformats-officedocument.presentationml.notesSlide+xml"/>
  <Override PartName="/ppt/tags/tag37.xml" ContentType="application/vnd.openxmlformats-officedocument.presentationml.tags+xml"/>
  <Override PartName="/ppt/notesSlides/notesSlide14.xml" ContentType="application/vnd.openxmlformats-officedocument.presentationml.notesSlide+xml"/>
  <Override PartName="/ppt/tags/tag38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824" r:id="rId5"/>
    <p:sldId id="820" r:id="rId6"/>
    <p:sldId id="831" r:id="rId7"/>
    <p:sldId id="832" r:id="rId8"/>
    <p:sldId id="833" r:id="rId9"/>
    <p:sldId id="836" r:id="rId10"/>
    <p:sldId id="834" r:id="rId11"/>
    <p:sldId id="835" r:id="rId12"/>
    <p:sldId id="837" r:id="rId13"/>
    <p:sldId id="838" r:id="rId14"/>
    <p:sldId id="840" r:id="rId15"/>
    <p:sldId id="842" r:id="rId16"/>
    <p:sldId id="841" r:id="rId17"/>
    <p:sldId id="839" r:id="rId18"/>
    <p:sldId id="830" r:id="rId19"/>
    <p:sldId id="821" r:id="rId20"/>
    <p:sldId id="828" r:id="rId21"/>
    <p:sldId id="829" r:id="rId22"/>
    <p:sldId id="819" r:id="rId23"/>
  </p:sldIdLst>
  <p:sldSz cx="12192000" cy="6858000"/>
  <p:notesSz cx="6769100" cy="9906000"/>
  <p:custDataLst>
    <p:tags r:id="rId26"/>
  </p:custDataLst>
  <p:defaultTextStyle>
    <a:defPPr>
      <a:defRPr lang="de-DE"/>
    </a:defPPr>
    <a:lvl1pPr marL="0" algn="l" defTabSz="967274" rtl="0" eaLnBrk="1" latinLnBrk="0" hangingPunct="1">
      <a:defRPr sz="1904" kern="1200">
        <a:solidFill>
          <a:schemeClr val="tx1"/>
        </a:solidFill>
        <a:latin typeface="+mn-lt"/>
        <a:ea typeface="+mn-ea"/>
        <a:cs typeface="+mn-cs"/>
      </a:defRPr>
    </a:lvl1pPr>
    <a:lvl2pPr marL="483637" algn="l" defTabSz="967274" rtl="0" eaLnBrk="1" latinLnBrk="0" hangingPunct="1">
      <a:defRPr sz="1904" kern="1200">
        <a:solidFill>
          <a:schemeClr val="tx1"/>
        </a:solidFill>
        <a:latin typeface="+mn-lt"/>
        <a:ea typeface="+mn-ea"/>
        <a:cs typeface="+mn-cs"/>
      </a:defRPr>
    </a:lvl2pPr>
    <a:lvl3pPr marL="967274" algn="l" defTabSz="967274" rtl="0" eaLnBrk="1" latinLnBrk="0" hangingPunct="1">
      <a:defRPr sz="1904" kern="1200">
        <a:solidFill>
          <a:schemeClr val="tx1"/>
        </a:solidFill>
        <a:latin typeface="+mn-lt"/>
        <a:ea typeface="+mn-ea"/>
        <a:cs typeface="+mn-cs"/>
      </a:defRPr>
    </a:lvl3pPr>
    <a:lvl4pPr marL="1450910" algn="l" defTabSz="967274" rtl="0" eaLnBrk="1" latinLnBrk="0" hangingPunct="1">
      <a:defRPr sz="1904" kern="1200">
        <a:solidFill>
          <a:schemeClr val="tx1"/>
        </a:solidFill>
        <a:latin typeface="+mn-lt"/>
        <a:ea typeface="+mn-ea"/>
        <a:cs typeface="+mn-cs"/>
      </a:defRPr>
    </a:lvl4pPr>
    <a:lvl5pPr marL="1934547" algn="l" defTabSz="967274" rtl="0" eaLnBrk="1" latinLnBrk="0" hangingPunct="1">
      <a:defRPr sz="1904" kern="1200">
        <a:solidFill>
          <a:schemeClr val="tx1"/>
        </a:solidFill>
        <a:latin typeface="+mn-lt"/>
        <a:ea typeface="+mn-ea"/>
        <a:cs typeface="+mn-cs"/>
      </a:defRPr>
    </a:lvl5pPr>
    <a:lvl6pPr marL="2418183" algn="l" defTabSz="967274" rtl="0" eaLnBrk="1" latinLnBrk="0" hangingPunct="1">
      <a:defRPr sz="1904" kern="1200">
        <a:solidFill>
          <a:schemeClr val="tx1"/>
        </a:solidFill>
        <a:latin typeface="+mn-lt"/>
        <a:ea typeface="+mn-ea"/>
        <a:cs typeface="+mn-cs"/>
      </a:defRPr>
    </a:lvl6pPr>
    <a:lvl7pPr marL="2901820" algn="l" defTabSz="967274" rtl="0" eaLnBrk="1" latinLnBrk="0" hangingPunct="1">
      <a:defRPr sz="1904" kern="1200">
        <a:solidFill>
          <a:schemeClr val="tx1"/>
        </a:solidFill>
        <a:latin typeface="+mn-lt"/>
        <a:ea typeface="+mn-ea"/>
        <a:cs typeface="+mn-cs"/>
      </a:defRPr>
    </a:lvl7pPr>
    <a:lvl8pPr marL="3385456" algn="l" defTabSz="967274" rtl="0" eaLnBrk="1" latinLnBrk="0" hangingPunct="1">
      <a:defRPr sz="1904" kern="1200">
        <a:solidFill>
          <a:schemeClr val="tx1"/>
        </a:solidFill>
        <a:latin typeface="+mn-lt"/>
        <a:ea typeface="+mn-ea"/>
        <a:cs typeface="+mn-cs"/>
      </a:defRPr>
    </a:lvl8pPr>
    <a:lvl9pPr marL="3869093" algn="l" defTabSz="967274" rtl="0" eaLnBrk="1" latinLnBrk="0" hangingPunct="1">
      <a:defRPr sz="19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1" userDrawn="1">
          <p15:clr>
            <a:srgbClr val="A4A3A4"/>
          </p15:clr>
        </p15:guide>
        <p15:guide id="2" pos="193" userDrawn="1">
          <p15:clr>
            <a:srgbClr val="A4A3A4"/>
          </p15:clr>
        </p15:guide>
        <p15:guide id="5" pos="3840" userDrawn="1">
          <p15:clr>
            <a:srgbClr val="A4A3A4"/>
          </p15:clr>
        </p15:guide>
        <p15:guide id="9" pos="7487" userDrawn="1">
          <p15:clr>
            <a:srgbClr val="A4A3A4"/>
          </p15:clr>
        </p15:guide>
        <p15:guide id="10" orient="horz" pos="337" userDrawn="1">
          <p15:clr>
            <a:srgbClr val="A4A3A4"/>
          </p15:clr>
        </p15:guide>
        <p15:guide id="11" orient="horz" pos="782" userDrawn="1">
          <p15:clr>
            <a:srgbClr val="A4A3A4"/>
          </p15:clr>
        </p15:guide>
        <p15:guide id="12" orient="horz" pos="1009" userDrawn="1">
          <p15:clr>
            <a:srgbClr val="A4A3A4"/>
          </p15:clr>
        </p15:guide>
        <p15:guide id="13" orient="horz" pos="3886" userDrawn="1">
          <p15:clr>
            <a:srgbClr val="A4A3A4"/>
          </p15:clr>
        </p15:guide>
        <p15:guide id="14" orient="horz" pos="4031" userDrawn="1">
          <p15:clr>
            <a:srgbClr val="A4A3A4"/>
          </p15:clr>
        </p15:guide>
        <p15:guide id="15" orient="horz" pos="4198" userDrawn="1">
          <p15:clr>
            <a:srgbClr val="A4A3A4"/>
          </p15:clr>
        </p15:guide>
        <p15:guide id="16" pos="3680" userDrawn="1">
          <p15:clr>
            <a:srgbClr val="A4A3A4"/>
          </p15:clr>
        </p15:guide>
        <p15:guide id="18" pos="2377" userDrawn="1">
          <p15:clr>
            <a:srgbClr val="A4A3A4"/>
          </p15:clr>
        </p15:guide>
        <p15:guide id="19" pos="5280" userDrawn="1">
          <p15:clr>
            <a:srgbClr val="A4A3A4"/>
          </p15:clr>
        </p15:guide>
        <p15:guide id="20" pos="400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CBCB"/>
    <a:srgbClr val="D1D1D1"/>
    <a:srgbClr val="D9D9D9"/>
    <a:srgbClr val="E8E8E8"/>
    <a:srgbClr val="E20074"/>
    <a:srgbClr val="949494"/>
    <a:srgbClr val="999999"/>
    <a:srgbClr val="515151"/>
    <a:srgbClr val="EAEAEA"/>
    <a:srgbClr val="DCD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807" autoAdjust="0"/>
  </p:normalViewPr>
  <p:slideViewPr>
    <p:cSldViewPr snapToGrid="0" snapToObjects="1">
      <p:cViewPr>
        <p:scale>
          <a:sx n="95" d="100"/>
          <a:sy n="95" d="100"/>
        </p:scale>
        <p:origin x="206" y="82"/>
      </p:cViewPr>
      <p:guideLst>
        <p:guide orient="horz" pos="241"/>
        <p:guide pos="193"/>
        <p:guide pos="3840"/>
        <p:guide pos="7487"/>
        <p:guide orient="horz" pos="337"/>
        <p:guide orient="horz" pos="782"/>
        <p:guide orient="horz" pos="1009"/>
        <p:guide orient="horz" pos="3886"/>
        <p:guide orient="horz" pos="4031"/>
        <p:guide orient="horz" pos="4198"/>
        <p:guide pos="3680"/>
        <p:guide pos="2377"/>
        <p:guide pos="5280"/>
        <p:guide pos="400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2861" y="91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37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33813" y="0"/>
            <a:ext cx="29337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23A5E3-5A81-4468-A229-17851D48E1F4}" type="datetimeFigureOut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5/10/2022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9113"/>
            <a:ext cx="29337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33813" y="9409113"/>
            <a:ext cx="29337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DA7397-FBA4-4EA4-89A7-195AF3AEF560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93979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33276" cy="495300"/>
          </a:xfrm>
          <a:prstGeom prst="rect">
            <a:avLst/>
          </a:prstGeom>
        </p:spPr>
        <p:txBody>
          <a:bodyPr vert="horz" lIns="91230" tIns="45615" rIns="91230" bIns="45615" rtlCol="0"/>
          <a:lstStyle>
            <a:lvl1pPr algn="l" rtl="0" eaLnBrk="1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34258" y="0"/>
            <a:ext cx="2933276" cy="495300"/>
          </a:xfrm>
          <a:prstGeom prst="rect">
            <a:avLst/>
          </a:prstGeom>
        </p:spPr>
        <p:txBody>
          <a:bodyPr vert="horz" lIns="91230" tIns="45615" rIns="91230" bIns="45615" rtlCol="0"/>
          <a:lstStyle>
            <a:lvl1pPr algn="r" rtl="0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847C1C0-7CF7-4E43-8415-72BC7E37BCB3}" type="datetimeFigureOut">
              <a:rPr lang="en-US" smtClean="0"/>
              <a:pPr/>
              <a:t>5/10/2022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255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30" tIns="45615" rIns="91230" bIns="45615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6910" y="4705351"/>
            <a:ext cx="5415280" cy="4457700"/>
          </a:xfrm>
          <a:prstGeom prst="rect">
            <a:avLst/>
          </a:prstGeom>
        </p:spPr>
        <p:txBody>
          <a:bodyPr vert="horz" lIns="91230" tIns="45615" rIns="91230" bIns="45615" rtlCol="0"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08982"/>
            <a:ext cx="2933276" cy="495300"/>
          </a:xfrm>
          <a:prstGeom prst="rect">
            <a:avLst/>
          </a:prstGeom>
        </p:spPr>
        <p:txBody>
          <a:bodyPr vert="horz" lIns="91230" tIns="45615" rIns="91230" bIns="45615" rtlCol="0" anchor="b"/>
          <a:lstStyle>
            <a:lvl1pPr algn="l" rtl="0" eaLnBrk="1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34258" y="9408982"/>
            <a:ext cx="2933276" cy="495300"/>
          </a:xfrm>
          <a:prstGeom prst="rect">
            <a:avLst/>
          </a:prstGeom>
        </p:spPr>
        <p:txBody>
          <a:bodyPr vert="horz" lIns="91230" tIns="45615" rIns="91230" bIns="45615" rtlCol="0" anchor="b"/>
          <a:lstStyle>
            <a:lvl1pPr algn="r" rtl="0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D817DD0-38E7-46ED-A2FE-994A5C2497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0372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7274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83637" algn="l" defTabSz="967274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67274" algn="l" defTabSz="967274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450910" algn="l" defTabSz="967274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934547" algn="l" defTabSz="967274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418183" algn="l" defTabSz="967274" rtl="0" eaLnBrk="1" latinLnBrk="0" hangingPunct="1">
      <a:defRPr sz="1268" kern="1200">
        <a:solidFill>
          <a:schemeClr val="tx1"/>
        </a:solidFill>
        <a:latin typeface="+mn-lt"/>
        <a:ea typeface="+mn-ea"/>
        <a:cs typeface="+mn-cs"/>
      </a:defRPr>
    </a:lvl6pPr>
    <a:lvl7pPr marL="2901820" algn="l" defTabSz="967274" rtl="0" eaLnBrk="1" latinLnBrk="0" hangingPunct="1">
      <a:defRPr sz="1268" kern="1200">
        <a:solidFill>
          <a:schemeClr val="tx1"/>
        </a:solidFill>
        <a:latin typeface="+mn-lt"/>
        <a:ea typeface="+mn-ea"/>
        <a:cs typeface="+mn-cs"/>
      </a:defRPr>
    </a:lvl7pPr>
    <a:lvl8pPr marL="3385456" algn="l" defTabSz="967274" rtl="0" eaLnBrk="1" latinLnBrk="0" hangingPunct="1">
      <a:defRPr sz="1268" kern="1200">
        <a:solidFill>
          <a:schemeClr val="tx1"/>
        </a:solidFill>
        <a:latin typeface="+mn-lt"/>
        <a:ea typeface="+mn-ea"/>
        <a:cs typeface="+mn-cs"/>
      </a:defRPr>
    </a:lvl8pPr>
    <a:lvl9pPr marL="3869093" algn="l" defTabSz="967274" rtl="0" eaLnBrk="1" latinLnBrk="0" hangingPunct="1">
      <a:defRPr sz="126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2550" y="742950"/>
            <a:ext cx="6604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7DD0-38E7-46ED-A2FE-994A5C249761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71571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2550" y="742950"/>
            <a:ext cx="6604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7DD0-38E7-46ED-A2FE-994A5C249761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9575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2550" y="742950"/>
            <a:ext cx="6604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7DD0-38E7-46ED-A2FE-994A5C249761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77042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2550" y="742950"/>
            <a:ext cx="6604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7DD0-38E7-46ED-A2FE-994A5C249761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658013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2550" y="742950"/>
            <a:ext cx="6604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7DD0-38E7-46ED-A2FE-994A5C249761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7748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2550" y="742950"/>
            <a:ext cx="6604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7DD0-38E7-46ED-A2FE-994A5C249761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26138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7DD0-38E7-46ED-A2FE-994A5C249761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1494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2550" y="742950"/>
            <a:ext cx="6604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7DD0-38E7-46ED-A2FE-994A5C249761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1496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2550" y="742950"/>
            <a:ext cx="6604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7DD0-38E7-46ED-A2FE-994A5C249761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25727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2550" y="742950"/>
            <a:ext cx="6604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7DD0-38E7-46ED-A2FE-994A5C249761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39931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2550" y="742950"/>
            <a:ext cx="6604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7DD0-38E7-46ED-A2FE-994A5C249761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0973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2550" y="742950"/>
            <a:ext cx="6604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7DD0-38E7-46ED-A2FE-994A5C249761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9796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2550" y="742950"/>
            <a:ext cx="6604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7DD0-38E7-46ED-A2FE-994A5C249761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76761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2550" y="742950"/>
            <a:ext cx="6604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7DD0-38E7-46ED-A2FE-994A5C249761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49224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2550" y="742950"/>
            <a:ext cx="6604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7DD0-38E7-46ED-A2FE-994A5C249761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1801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4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1">
    <p:bg>
      <p:bgPr>
        <a:gradFill flip="none" rotWithShape="1">
          <a:gsLst>
            <a:gs pos="50000">
              <a:srgbClr val="C6C6C6"/>
            </a:gs>
            <a:gs pos="0">
              <a:schemeClr val="bg2"/>
            </a:gs>
            <a:gs pos="100000">
              <a:schemeClr val="accent1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5791236"/>
              </p:ext>
            </p:extLst>
          </p:nvPr>
        </p:nvGraphicFramePr>
        <p:xfrm>
          <a:off x="1682" y="1680"/>
          <a:ext cx="1679" cy="16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2" y="1680"/>
                        <a:ext cx="1679" cy="16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5290459" y="6423027"/>
            <a:ext cx="1709057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rtl="0" eaLnBrk="1"/>
            <a:endParaRPr lang="en-US" sz="2013" dirty="0"/>
          </a:p>
        </p:txBody>
      </p:sp>
      <p:pic>
        <p:nvPicPr>
          <p:cNvPr id="8" name="Grafik 11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311" t="29160" r="2494" b="29294"/>
          <a:stretch/>
        </p:blipFill>
        <p:spPr>
          <a:xfrm>
            <a:off x="302367" y="6394337"/>
            <a:ext cx="879528" cy="268274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05723" y="1937354"/>
            <a:ext cx="6551022" cy="2345173"/>
          </a:xfrm>
        </p:spPr>
        <p:txBody>
          <a:bodyPr/>
          <a:lstStyle>
            <a:lvl1pPr marL="0" marR="0" indent="0" algn="l" defTabSz="96697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/>
            </a:lvl1pPr>
          </a:lstStyle>
          <a:p>
            <a:pPr marL="0" marR="0" lvl="0" indent="0" algn="l" defTabSz="96697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Heading Arial Bold</a:t>
            </a:r>
            <a:br>
              <a:rPr lang="en-US" dirty="0"/>
            </a:br>
            <a:r>
              <a:rPr lang="en-US" dirty="0"/>
              <a:t>Maximum 3 lines</a:t>
            </a:r>
            <a:br>
              <a:rPr lang="en-US" dirty="0"/>
            </a:br>
            <a:r>
              <a:rPr lang="en-US" dirty="0"/>
              <a:t>4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6388" y="4739379"/>
            <a:ext cx="6550025" cy="369332"/>
          </a:xfrm>
        </p:spPr>
        <p:txBody>
          <a:bodyPr/>
          <a:lstStyle>
            <a:lvl1pPr marL="0" marR="0" indent="0" algn="l" defTabSz="4834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2400"/>
            </a:lvl1pPr>
          </a:lstStyle>
          <a:p>
            <a:pPr marL="0" marR="0" lvl="0" indent="0" algn="l" defTabSz="4834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heading Arial Regular, 24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71594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8362149"/>
              </p:ext>
            </p:extLst>
          </p:nvPr>
        </p:nvGraphicFramePr>
        <p:xfrm>
          <a:off x="1680" y="1681"/>
          <a:ext cx="1680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681"/>
                        <a:ext cx="1680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7980" cy="16788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/>
            <a:endParaRPr lang="en-US" sz="2538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348822" y="3361"/>
            <a:ext cx="5843178" cy="685464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1" name="Grafik 11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1" t="29160" r="2494" b="29294"/>
          <a:stretch/>
        </p:blipFill>
        <p:spPr>
          <a:xfrm>
            <a:off x="302367" y="6394337"/>
            <a:ext cx="879528" cy="268274"/>
          </a:xfrm>
          <a:prstGeom prst="rect">
            <a:avLst/>
          </a:prstGeom>
        </p:spPr>
      </p:pic>
      <p:sp>
        <p:nvSpPr>
          <p:cNvPr id="13" name="Inhaltsplatzhalter 19"/>
          <p:cNvSpPr>
            <a:spLocks noGrp="1"/>
          </p:cNvSpPr>
          <p:nvPr>
            <p:ph sz="quarter" idx="17" hasCustomPrompt="1"/>
          </p:nvPr>
        </p:nvSpPr>
        <p:spPr>
          <a:xfrm>
            <a:off x="304746" y="1602842"/>
            <a:ext cx="5791256" cy="418780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marL="190350" indent="-190350" rtl="0">
              <a:buSzPct val="80000"/>
              <a:buFont typeface="Wingdings 2" panose="05020102010507070707" pitchFamily="18" charset="2"/>
              <a:buChar char=""/>
              <a:defRPr>
                <a:solidFill>
                  <a:schemeClr val="tx1"/>
                </a:solidFill>
              </a:defRPr>
            </a:lvl2pPr>
            <a:lvl3pPr marL="380700" indent="-190350" rtl="0">
              <a:buSzPct val="80000"/>
              <a:buFont typeface="Wingdings 2" panose="05020102010507070707" pitchFamily="18" charset="2"/>
              <a:buChar char=""/>
              <a:defRPr>
                <a:solidFill>
                  <a:schemeClr val="tx1"/>
                </a:solidFill>
              </a:defRPr>
            </a:lvl3pPr>
            <a:lvl4pPr marL="567428" indent="-186345" rtl="0">
              <a:buSzPct val="8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60488" indent="-193060" rtl="0">
              <a:buSzPct val="80000"/>
              <a:buFont typeface="Arial" panose="020B0604020202020204" pitchFamily="34" charset="0"/>
              <a:buChar char="○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04747" y="540583"/>
            <a:ext cx="5791769" cy="664797"/>
          </a:xfrm>
        </p:spPr>
        <p:txBody>
          <a:bodyPr wrap="square">
            <a:spAutoFit/>
          </a:bodyPr>
          <a:lstStyle>
            <a:lvl1pPr marL="0" marR="0" indent="0" algn="l" defTabSz="96697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ction Title</a:t>
            </a:r>
            <a:br>
              <a:rPr lang="en-US" dirty="0"/>
            </a:br>
            <a:r>
              <a:rPr lang="en-US" dirty="0"/>
              <a:t>Arial Bold, 2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Headline_placeholder">
            <a:extLst>
              <a:ext uri="{FF2B5EF4-FFF2-40B4-BE49-F238E27FC236}">
                <a16:creationId xmlns:a16="http://schemas.microsoft.com/office/drawing/2014/main" id="{E9238805-391A-4376-8A7A-5AA033A8AA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747" y="188096"/>
            <a:ext cx="5792400" cy="169277"/>
          </a:xfrm>
        </p:spPr>
        <p:txBody>
          <a:bodyPr>
            <a:spAutoFit/>
          </a:bodyPr>
          <a:lstStyle>
            <a:lvl1pPr>
              <a:defRPr sz="1100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5" name="Source_placeholder">
            <a:extLst>
              <a:ext uri="{FF2B5EF4-FFF2-40B4-BE49-F238E27FC236}">
                <a16:creationId xmlns:a16="http://schemas.microsoft.com/office/drawing/2014/main" id="{23418CA0-A9A6-4DFD-B381-FFB174CA30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4747" y="6032862"/>
            <a:ext cx="5792400" cy="138499"/>
          </a:xfrm>
        </p:spPr>
        <p:txBody>
          <a:bodyPr>
            <a:spAutoFit/>
          </a:bodyPr>
          <a:lstStyle>
            <a:lvl1pPr>
              <a:defRPr sz="900" i="1"/>
            </a:lvl1pPr>
          </a:lstStyle>
          <a:p>
            <a:pPr marL="0" marR="0" lvl="0" indent="0" algn="l" defTabSz="4834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ource: Arial italic plain, 9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8146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9048330"/>
              </p:ext>
            </p:extLst>
          </p:nvPr>
        </p:nvGraphicFramePr>
        <p:xfrm>
          <a:off x="1680" y="1681"/>
          <a:ext cx="1680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681"/>
                        <a:ext cx="1680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7980" cy="16788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/>
            <a:endParaRPr lang="en-US" sz="2538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361"/>
            <a:ext cx="5843178" cy="6854641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Inhaltsplatzhalter 19"/>
          <p:cNvSpPr>
            <a:spLocks noGrp="1"/>
          </p:cNvSpPr>
          <p:nvPr>
            <p:ph sz="quarter" idx="17" hasCustomPrompt="1"/>
          </p:nvPr>
        </p:nvSpPr>
        <p:spPr>
          <a:xfrm>
            <a:off x="6096002" y="1602842"/>
            <a:ext cx="5790275" cy="418780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marL="190350" indent="-190350" rtl="0">
              <a:buSzPct val="80000"/>
              <a:buFont typeface="Wingdings 2" panose="05020102010507070707" pitchFamily="18" charset="2"/>
              <a:buChar char=""/>
              <a:defRPr>
                <a:solidFill>
                  <a:schemeClr val="tx1"/>
                </a:solidFill>
              </a:defRPr>
            </a:lvl2pPr>
            <a:lvl3pPr marL="380700" indent="-190350" rtl="0">
              <a:buSzPct val="80000"/>
              <a:buFont typeface="Wingdings 2" panose="05020102010507070707" pitchFamily="18" charset="2"/>
              <a:buChar char=""/>
              <a:defRPr>
                <a:solidFill>
                  <a:schemeClr val="tx1"/>
                </a:solidFill>
              </a:defRPr>
            </a:lvl3pPr>
            <a:lvl4pPr marL="567428" indent="-186345" rtl="0">
              <a:buSzPct val="8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60488" indent="-193060" rtl="0">
              <a:buSzPct val="80000"/>
              <a:buFont typeface="Arial" panose="020B0604020202020204" pitchFamily="34" charset="0"/>
              <a:buChar char="○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096001" y="540583"/>
            <a:ext cx="5790273" cy="664797"/>
          </a:xfrm>
        </p:spPr>
        <p:txBody>
          <a:bodyPr vert="horz" wrap="square">
            <a:spAutoFit/>
          </a:bodyPr>
          <a:lstStyle>
            <a:lvl1pPr marL="0" marR="0" indent="0" algn="l" defTabSz="96697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ction Title</a:t>
            </a:r>
            <a:br>
              <a:rPr lang="en-US" dirty="0"/>
            </a:br>
            <a:r>
              <a:rPr lang="en-US" dirty="0"/>
              <a:t>Arial Bold, 2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Headline_placeholder">
            <a:extLst>
              <a:ext uri="{FF2B5EF4-FFF2-40B4-BE49-F238E27FC236}">
                <a16:creationId xmlns:a16="http://schemas.microsoft.com/office/drawing/2014/main" id="{1D6E33B8-E84B-4FB8-AAE5-ED8CB71D1B5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1" y="188096"/>
            <a:ext cx="5792400" cy="169277"/>
          </a:xfrm>
        </p:spPr>
        <p:txBody>
          <a:bodyPr>
            <a:spAutoFit/>
          </a:bodyPr>
          <a:lstStyle>
            <a:lvl1pPr>
              <a:defRPr sz="1100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4" name="Source_placeholder">
            <a:extLst>
              <a:ext uri="{FF2B5EF4-FFF2-40B4-BE49-F238E27FC236}">
                <a16:creationId xmlns:a16="http://schemas.microsoft.com/office/drawing/2014/main" id="{1857F568-D2F7-4D15-9032-DC50ADF14D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1" y="6032862"/>
            <a:ext cx="5792400" cy="138499"/>
          </a:xfrm>
        </p:spPr>
        <p:txBody>
          <a:bodyPr>
            <a:spAutoFit/>
          </a:bodyPr>
          <a:lstStyle>
            <a:lvl1pPr>
              <a:defRPr sz="900" i="1"/>
            </a:lvl1pPr>
          </a:lstStyle>
          <a:p>
            <a:pPr marL="0" marR="0" lvl="0" indent="0" algn="l" defTabSz="4834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ource: Arial italic plain, 9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2448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2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538996"/>
              </p:ext>
            </p:extLst>
          </p:nvPr>
        </p:nvGraphicFramePr>
        <p:xfrm>
          <a:off x="1680" y="1681"/>
          <a:ext cx="1680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681"/>
                        <a:ext cx="1680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7980" cy="16788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/>
            <a:endParaRPr lang="en-US" sz="2538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361"/>
            <a:ext cx="3790974" cy="6854641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Inhaltsplatzhalter 19"/>
          <p:cNvSpPr>
            <a:spLocks noGrp="1"/>
          </p:cNvSpPr>
          <p:nvPr>
            <p:ph sz="quarter" idx="17" hasCustomPrompt="1"/>
          </p:nvPr>
        </p:nvSpPr>
        <p:spPr>
          <a:xfrm>
            <a:off x="4046156" y="1602842"/>
            <a:ext cx="7839394" cy="418780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marL="190350" indent="-190350" rtl="0">
              <a:buSzPct val="80000"/>
              <a:buFont typeface="Wingdings 2" panose="05020102010507070707" pitchFamily="18" charset="2"/>
              <a:buChar char=""/>
              <a:defRPr>
                <a:solidFill>
                  <a:schemeClr val="tx1"/>
                </a:solidFill>
              </a:defRPr>
            </a:lvl2pPr>
            <a:lvl3pPr marL="380700" indent="-190350" rtl="0">
              <a:buSzPct val="80000"/>
              <a:buFont typeface="Wingdings 2" panose="05020102010507070707" pitchFamily="18" charset="2"/>
              <a:buChar char=""/>
              <a:defRPr>
                <a:solidFill>
                  <a:schemeClr val="tx1"/>
                </a:solidFill>
              </a:defRPr>
            </a:lvl3pPr>
            <a:lvl4pPr marL="567428" indent="-186345" rtl="0">
              <a:buSzPct val="8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60488" indent="-193060" rtl="0">
              <a:buSzPct val="80000"/>
              <a:buFont typeface="Arial" panose="020B0604020202020204" pitchFamily="34" charset="0"/>
              <a:buChar char="○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046155" y="540583"/>
            <a:ext cx="7839391" cy="664797"/>
          </a:xfrm>
        </p:spPr>
        <p:txBody>
          <a:bodyPr vert="horz" wrap="square">
            <a:spAutoFit/>
          </a:bodyPr>
          <a:lstStyle>
            <a:lvl1pPr marL="0" marR="0" indent="0" algn="l" defTabSz="96697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ction Title</a:t>
            </a:r>
            <a:br>
              <a:rPr lang="en-US" dirty="0"/>
            </a:br>
            <a:r>
              <a:rPr lang="en-US" dirty="0"/>
              <a:t>Arial Bold, 2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Headline_placeholder">
            <a:extLst>
              <a:ext uri="{FF2B5EF4-FFF2-40B4-BE49-F238E27FC236}">
                <a16:creationId xmlns:a16="http://schemas.microsoft.com/office/drawing/2014/main" id="{A5AF1B9E-362C-4C59-9F8F-E1F5632BC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6130" y="188096"/>
            <a:ext cx="7842271" cy="169277"/>
          </a:xfrm>
        </p:spPr>
        <p:txBody>
          <a:bodyPr wrap="square">
            <a:spAutoFit/>
          </a:bodyPr>
          <a:lstStyle>
            <a:lvl1pPr>
              <a:defRPr sz="1100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4" name="Source_placeholder">
            <a:extLst>
              <a:ext uri="{FF2B5EF4-FFF2-40B4-BE49-F238E27FC236}">
                <a16:creationId xmlns:a16="http://schemas.microsoft.com/office/drawing/2014/main" id="{6056B7F0-FA74-4264-B760-0B20645633E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6130" y="6032862"/>
            <a:ext cx="7842271" cy="138499"/>
          </a:xfrm>
        </p:spPr>
        <p:txBody>
          <a:bodyPr wrap="square">
            <a:spAutoFit/>
          </a:bodyPr>
          <a:lstStyle>
            <a:lvl1pPr>
              <a:defRPr sz="900" i="1"/>
            </a:lvl1pPr>
          </a:lstStyle>
          <a:p>
            <a:pPr marL="0" marR="0" lvl="0" indent="0" algn="l" defTabSz="4834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ource: Arial italic plain, 9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0030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1325278"/>
              </p:ext>
            </p:extLst>
          </p:nvPr>
        </p:nvGraphicFramePr>
        <p:xfrm>
          <a:off x="1680" y="1681"/>
          <a:ext cx="1680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7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681"/>
                        <a:ext cx="1680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7980" cy="16788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/>
            <a:endParaRPr lang="en-US" sz="2538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8377774" y="3361"/>
            <a:ext cx="3814226" cy="685464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1" name="Grafik 11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1" t="29160" r="2494" b="29294"/>
          <a:stretch/>
        </p:blipFill>
        <p:spPr>
          <a:xfrm>
            <a:off x="302367" y="6394337"/>
            <a:ext cx="879528" cy="268274"/>
          </a:xfrm>
          <a:prstGeom prst="rect">
            <a:avLst/>
          </a:prstGeom>
        </p:spPr>
      </p:pic>
      <p:sp>
        <p:nvSpPr>
          <p:cNvPr id="13" name="Inhaltsplatzhalter 19"/>
          <p:cNvSpPr>
            <a:spLocks noGrp="1"/>
          </p:cNvSpPr>
          <p:nvPr>
            <p:ph sz="quarter" idx="17" hasCustomPrompt="1"/>
          </p:nvPr>
        </p:nvSpPr>
        <p:spPr>
          <a:xfrm>
            <a:off x="304745" y="1602842"/>
            <a:ext cx="7771765" cy="418780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marL="190350" indent="-190350" rtl="0">
              <a:buSzPct val="80000"/>
              <a:buFont typeface="Wingdings 2" panose="05020102010507070707" pitchFamily="18" charset="2"/>
              <a:buChar char=""/>
              <a:defRPr>
                <a:solidFill>
                  <a:schemeClr val="tx1"/>
                </a:solidFill>
              </a:defRPr>
            </a:lvl2pPr>
            <a:lvl3pPr marL="380700" indent="-190350" rtl="0">
              <a:buSzPct val="80000"/>
              <a:buFont typeface="Wingdings 2" panose="05020102010507070707" pitchFamily="18" charset="2"/>
              <a:buChar char=""/>
              <a:defRPr>
                <a:solidFill>
                  <a:schemeClr val="tx1"/>
                </a:solidFill>
              </a:defRPr>
            </a:lvl3pPr>
            <a:lvl4pPr marL="567428" indent="-186345" rtl="0">
              <a:buSzPct val="8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60488" indent="-193060" rtl="0">
              <a:buSzPct val="80000"/>
              <a:buFont typeface="Arial" panose="020B0604020202020204" pitchFamily="34" charset="0"/>
              <a:buChar char="○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04747" y="540583"/>
            <a:ext cx="7772453" cy="664797"/>
          </a:xfrm>
        </p:spPr>
        <p:txBody>
          <a:bodyPr vert="horz" wrap="square">
            <a:spAutoFit/>
          </a:bodyPr>
          <a:lstStyle>
            <a:lvl1pPr marL="0" marR="0" indent="0" algn="l" defTabSz="96697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ction Title</a:t>
            </a:r>
            <a:br>
              <a:rPr lang="en-US" dirty="0"/>
            </a:br>
            <a:r>
              <a:rPr lang="en-US" dirty="0"/>
              <a:t>Arial Bold, 2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Headline_placeholder">
            <a:extLst>
              <a:ext uri="{FF2B5EF4-FFF2-40B4-BE49-F238E27FC236}">
                <a16:creationId xmlns:a16="http://schemas.microsoft.com/office/drawing/2014/main" id="{688AFA18-B7B2-420C-8E32-770FD72DE9B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747" y="188096"/>
            <a:ext cx="7773300" cy="169277"/>
          </a:xfrm>
        </p:spPr>
        <p:txBody>
          <a:bodyPr wrap="square">
            <a:spAutoFit/>
          </a:bodyPr>
          <a:lstStyle>
            <a:lvl1pPr>
              <a:defRPr sz="1100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5" name="Source_placeholder">
            <a:extLst>
              <a:ext uri="{FF2B5EF4-FFF2-40B4-BE49-F238E27FC236}">
                <a16:creationId xmlns:a16="http://schemas.microsoft.com/office/drawing/2014/main" id="{0AE87BE5-FCEC-407F-9F18-BB295E1DAD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4747" y="6032862"/>
            <a:ext cx="7773300" cy="138499"/>
          </a:xfrm>
        </p:spPr>
        <p:txBody>
          <a:bodyPr wrap="square">
            <a:spAutoFit/>
          </a:bodyPr>
          <a:lstStyle>
            <a:lvl1pPr>
              <a:defRPr sz="900" i="1"/>
            </a:lvl1pPr>
          </a:lstStyle>
          <a:p>
            <a:pPr marL="0" marR="0" lvl="0" indent="0" algn="l" defTabSz="4834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ource: Arial italic plain, 9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80986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 With Headline And A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5086098"/>
              </p:ext>
            </p:extLst>
          </p:nvPr>
        </p:nvGraphicFramePr>
        <p:xfrm>
          <a:off x="1680" y="1681"/>
          <a:ext cx="1680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1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1"/>
                        <a:ext cx="1680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1" t="29160" r="2494" b="29294"/>
          <a:stretch/>
        </p:blipFill>
        <p:spPr>
          <a:xfrm>
            <a:off x="302367" y="6394337"/>
            <a:ext cx="879528" cy="268274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04747" y="540583"/>
            <a:ext cx="11581528" cy="664797"/>
          </a:xfrm>
        </p:spPr>
        <p:txBody>
          <a:bodyPr>
            <a:spAutoFit/>
          </a:bodyPr>
          <a:lstStyle>
            <a:lvl1pPr marL="0" marR="0" indent="0" algn="l" defTabSz="96697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ction Title</a:t>
            </a:r>
            <a:br>
              <a:rPr lang="en-US" dirty="0"/>
            </a:br>
            <a:r>
              <a:rPr lang="en-US" dirty="0"/>
              <a:t>Arial Bold, 2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Headline_placeholder">
            <a:extLst>
              <a:ext uri="{FF2B5EF4-FFF2-40B4-BE49-F238E27FC236}">
                <a16:creationId xmlns:a16="http://schemas.microsoft.com/office/drawing/2014/main" id="{52127E3D-5E83-48B1-9AEC-7F6CFE6E62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4747" y="188096"/>
            <a:ext cx="11581528" cy="169277"/>
          </a:xfrm>
        </p:spPr>
        <p:txBody>
          <a:bodyPr>
            <a:spAutoFit/>
          </a:bodyPr>
          <a:lstStyle>
            <a:lvl1pPr>
              <a:defRPr sz="1100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0" name="Source_placeholder">
            <a:extLst>
              <a:ext uri="{FF2B5EF4-FFF2-40B4-BE49-F238E27FC236}">
                <a16:creationId xmlns:a16="http://schemas.microsoft.com/office/drawing/2014/main" id="{2223B519-5A07-4568-81CB-CE8E782A454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4747" y="6032862"/>
            <a:ext cx="11581528" cy="138499"/>
          </a:xfrm>
        </p:spPr>
        <p:txBody>
          <a:bodyPr>
            <a:spAutoFit/>
          </a:bodyPr>
          <a:lstStyle>
            <a:lvl1pPr>
              <a:defRPr sz="900" i="1"/>
            </a:lvl1pPr>
          </a:lstStyle>
          <a:p>
            <a:pPr marL="0" marR="0" lvl="0" indent="0" algn="l" defTabSz="4834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ource: Arial italic plain, 9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00370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 With Headline And Action Title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5150539"/>
              </p:ext>
            </p:extLst>
          </p:nvPr>
        </p:nvGraphicFramePr>
        <p:xfrm>
          <a:off x="1680" y="1681"/>
          <a:ext cx="1680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5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1"/>
                        <a:ext cx="1680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04747" y="540583"/>
            <a:ext cx="11581528" cy="664797"/>
          </a:xfrm>
        </p:spPr>
        <p:txBody>
          <a:bodyPr>
            <a:spAutoFit/>
          </a:bodyPr>
          <a:lstStyle>
            <a:lvl1pPr marL="0" marR="0" indent="0" algn="l" defTabSz="96697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ction Title</a:t>
            </a:r>
            <a:br>
              <a:rPr lang="en-US" dirty="0"/>
            </a:br>
            <a:r>
              <a:rPr lang="en-US" dirty="0"/>
              <a:t>Arial Bold, 2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Headline_placeholder">
            <a:extLst>
              <a:ext uri="{FF2B5EF4-FFF2-40B4-BE49-F238E27FC236}">
                <a16:creationId xmlns:a16="http://schemas.microsoft.com/office/drawing/2014/main" id="{CA1B853C-6838-4FE8-A6C0-A535ECF2717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4747" y="188096"/>
            <a:ext cx="11581528" cy="169277"/>
          </a:xfrm>
        </p:spPr>
        <p:txBody>
          <a:bodyPr>
            <a:spAutoFit/>
          </a:bodyPr>
          <a:lstStyle>
            <a:lvl1pPr>
              <a:defRPr sz="1100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8" name="Source_placeholder">
            <a:extLst>
              <a:ext uri="{FF2B5EF4-FFF2-40B4-BE49-F238E27FC236}">
                <a16:creationId xmlns:a16="http://schemas.microsoft.com/office/drawing/2014/main" id="{1DC4C47A-A916-45B5-8D87-D721D1057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4747" y="6032862"/>
            <a:ext cx="11581528" cy="138499"/>
          </a:xfrm>
        </p:spPr>
        <p:txBody>
          <a:bodyPr>
            <a:spAutoFit/>
          </a:bodyPr>
          <a:lstStyle>
            <a:lvl1pPr>
              <a:defRPr sz="900" i="1"/>
            </a:lvl1pPr>
          </a:lstStyle>
          <a:p>
            <a:pPr marL="0" marR="0" lvl="0" indent="0" algn="l" defTabSz="4834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ource: Arial italic plain, 9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13332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66602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2">
    <p:bg>
      <p:bgPr>
        <a:gradFill flip="none" rotWithShape="1">
          <a:gsLst>
            <a:gs pos="50000">
              <a:srgbClr val="C6C6C6"/>
            </a:gs>
            <a:gs pos="0">
              <a:schemeClr val="bg2"/>
            </a:gs>
            <a:gs pos="100000">
              <a:schemeClr val="accent1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4948887"/>
              </p:ext>
            </p:extLst>
          </p:nvPr>
        </p:nvGraphicFramePr>
        <p:xfrm>
          <a:off x="1682" y="1680"/>
          <a:ext cx="1679" cy="16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2" y="1680"/>
                        <a:ext cx="1679" cy="16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3546" y="1601599"/>
            <a:ext cx="9330954" cy="3870195"/>
          </a:xfrm>
          <a:prstGeom prst="rect">
            <a:avLst/>
          </a:prstGeom>
          <a:solidFill>
            <a:schemeClr val="bg1">
              <a:alpha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13" dirty="0">
              <a:solidFill>
                <a:schemeClr val="tx1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>
            <a:off x="5290459" y="6423027"/>
            <a:ext cx="1709057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rtl="0" eaLnBrk="1"/>
            <a:endParaRPr lang="en-US" sz="2013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05723" y="1937354"/>
            <a:ext cx="8502998" cy="2345173"/>
          </a:xfrm>
        </p:spPr>
        <p:txBody>
          <a:bodyPr/>
          <a:lstStyle>
            <a:lvl1pPr marL="0" marR="0" indent="0" algn="l" defTabSz="96697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/>
            </a:lvl1pPr>
          </a:lstStyle>
          <a:p>
            <a:pPr marL="0" marR="0" lvl="0" indent="0" algn="l" defTabSz="96697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Heading Arial Bold</a:t>
            </a:r>
            <a:br>
              <a:rPr lang="en-US" dirty="0"/>
            </a:br>
            <a:r>
              <a:rPr lang="en-US" dirty="0"/>
              <a:t>Maximum 3 lines</a:t>
            </a:r>
            <a:br>
              <a:rPr lang="en-US" dirty="0"/>
            </a:br>
            <a:r>
              <a:rPr lang="en-US" dirty="0"/>
              <a:t>4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6389" y="4739379"/>
            <a:ext cx="8501704" cy="369332"/>
          </a:xfrm>
        </p:spPr>
        <p:txBody>
          <a:bodyPr/>
          <a:lstStyle>
            <a:lvl1pPr marL="0" marR="0" indent="0" algn="l" defTabSz="4834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2400"/>
            </a:lvl1pPr>
          </a:lstStyle>
          <a:p>
            <a:pPr marL="0" marR="0" lvl="0" indent="0" algn="l" defTabSz="4834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heading Arial Regular, 24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2" name="Grafik 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1" t="29160" r="2494" b="29294"/>
          <a:stretch/>
        </p:blipFill>
        <p:spPr>
          <a:xfrm>
            <a:off x="302367" y="6394337"/>
            <a:ext cx="879528" cy="26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1162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">
    <p:bg>
      <p:bgPr>
        <a:gradFill flip="none" rotWithShape="1">
          <a:gsLst>
            <a:gs pos="50000">
              <a:srgbClr val="CACACA"/>
            </a:gs>
            <a:gs pos="0">
              <a:schemeClr val="bg2"/>
            </a:gs>
            <a:gs pos="100000">
              <a:schemeClr val="accent1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4634699"/>
              </p:ext>
            </p:extLst>
          </p:nvPr>
        </p:nvGraphicFramePr>
        <p:xfrm>
          <a:off x="1680" y="1681"/>
          <a:ext cx="1680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1"/>
                        <a:ext cx="1680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5290459" y="6423027"/>
            <a:ext cx="1709057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rtl="0" eaLnBrk="1"/>
            <a:endParaRPr lang="en-US" sz="2013" dirty="0">
              <a:solidFill>
                <a:schemeClr val="bg1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05723" y="1937354"/>
            <a:ext cx="8592872" cy="2345173"/>
          </a:xfrm>
        </p:spPr>
        <p:txBody>
          <a:bodyPr anchor="ctr"/>
          <a:lstStyle>
            <a:lvl1pPr marL="0" marR="0" indent="0" algn="l" defTabSz="96697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lide Divider</a:t>
            </a:r>
            <a:br>
              <a:rPr lang="en-US" dirty="0"/>
            </a:br>
            <a:r>
              <a:rPr lang="en-US" dirty="0"/>
              <a:t>Arial Bold</a:t>
            </a:r>
            <a:br>
              <a:rPr lang="en-US" dirty="0"/>
            </a:br>
            <a:r>
              <a:rPr lang="en-US" dirty="0"/>
              <a:t>48/54/66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23725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0173386"/>
              </p:ext>
            </p:extLst>
          </p:nvPr>
        </p:nvGraphicFramePr>
        <p:xfrm>
          <a:off x="1680" y="1681"/>
          <a:ext cx="1680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1"/>
                        <a:ext cx="1680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5290459" y="6423027"/>
            <a:ext cx="1709057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rtl="0" eaLnBrk="1"/>
            <a:endParaRPr lang="en-US" sz="2013" dirty="0">
              <a:solidFill>
                <a:schemeClr val="bg1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55440" y="2256413"/>
            <a:ext cx="7048500" cy="2345173"/>
          </a:xfrm>
        </p:spPr>
        <p:txBody>
          <a:bodyPr/>
          <a:lstStyle>
            <a:lvl1pPr marL="0" marR="0" indent="0" algn="l" defTabSz="96697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lide Divider</a:t>
            </a:r>
            <a:br>
              <a:rPr lang="en-US" dirty="0"/>
            </a:br>
            <a:r>
              <a:rPr lang="en-US" dirty="0"/>
              <a:t>Arial Bold</a:t>
            </a:r>
            <a:br>
              <a:rPr lang="en-US" dirty="0"/>
            </a:br>
            <a:r>
              <a:rPr lang="en-US" dirty="0"/>
              <a:t>48/54/6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-1"/>
            <a:ext cx="3787429" cy="6858001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13" dirty="0">
              <a:solidFill>
                <a:schemeClr val="bg1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155440" y="2023110"/>
            <a:ext cx="70485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76831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7587081"/>
              </p:ext>
            </p:extLst>
          </p:nvPr>
        </p:nvGraphicFramePr>
        <p:xfrm>
          <a:off x="1680" y="1681"/>
          <a:ext cx="1680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1"/>
                        <a:ext cx="1680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5290459" y="6423027"/>
            <a:ext cx="1709057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rtl="0" eaLnBrk="1"/>
            <a:endParaRPr lang="en-US" sz="2013" dirty="0">
              <a:solidFill>
                <a:schemeClr val="bg1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55440" y="2256413"/>
            <a:ext cx="7048500" cy="2345173"/>
          </a:xfrm>
        </p:spPr>
        <p:txBody>
          <a:bodyPr/>
          <a:lstStyle>
            <a:lvl1pPr marL="0" marR="0" indent="0" algn="l" defTabSz="96697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lide Divider</a:t>
            </a:r>
            <a:br>
              <a:rPr lang="en-US" dirty="0"/>
            </a:br>
            <a:r>
              <a:rPr lang="en-US" dirty="0"/>
              <a:t>Arial Bold</a:t>
            </a:r>
            <a:br>
              <a:rPr lang="en-US" dirty="0"/>
            </a:br>
            <a:r>
              <a:rPr lang="en-US" dirty="0"/>
              <a:t>48/54/6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-1"/>
            <a:ext cx="3787429" cy="685800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13" dirty="0">
              <a:solidFill>
                <a:schemeClr val="bg1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155440" y="2023110"/>
            <a:ext cx="70485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28660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8212302"/>
              </p:ext>
            </p:extLst>
          </p:nvPr>
        </p:nvGraphicFramePr>
        <p:xfrm>
          <a:off x="1682" y="1680"/>
          <a:ext cx="1679" cy="16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2" y="1680"/>
                        <a:ext cx="1679" cy="16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1" t="29160" r="2494" b="29294"/>
          <a:stretch/>
        </p:blipFill>
        <p:spPr>
          <a:xfrm>
            <a:off x="302367" y="6394337"/>
            <a:ext cx="879528" cy="268274"/>
          </a:xfrm>
          <a:prstGeom prst="rect">
            <a:avLst/>
          </a:prstGeom>
        </p:spPr>
      </p:pic>
      <p:sp>
        <p:nvSpPr>
          <p:cNvPr id="21" name="Inhaltsplatzhalter 19"/>
          <p:cNvSpPr>
            <a:spLocks noGrp="1"/>
          </p:cNvSpPr>
          <p:nvPr>
            <p:ph sz="quarter" idx="13" hasCustomPrompt="1"/>
          </p:nvPr>
        </p:nvSpPr>
        <p:spPr>
          <a:xfrm>
            <a:off x="304744" y="1602842"/>
            <a:ext cx="11581531" cy="418780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marL="190350" indent="-190350" rtl="0">
              <a:buSzPct val="80000"/>
              <a:buFont typeface="Wingdings 2" panose="05020102010507070707" pitchFamily="18" charset="2"/>
              <a:buChar char=""/>
              <a:defRPr>
                <a:solidFill>
                  <a:schemeClr val="tx1"/>
                </a:solidFill>
              </a:defRPr>
            </a:lvl2pPr>
            <a:lvl3pPr marL="380700" indent="-190350" rtl="0">
              <a:buSzPct val="80000"/>
              <a:buFont typeface="Wingdings 2" panose="05020102010507070707" pitchFamily="18" charset="2"/>
              <a:buChar char=""/>
              <a:defRPr>
                <a:solidFill>
                  <a:schemeClr val="tx1"/>
                </a:solidFill>
              </a:defRPr>
            </a:lvl3pPr>
            <a:lvl4pPr marL="567428" indent="-186345" rtl="0">
              <a:buSzPct val="8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60488" indent="-193060" rtl="0">
              <a:buSzPct val="80000"/>
              <a:buFont typeface="Arial" panose="020B0604020202020204" pitchFamily="34" charset="0"/>
              <a:buChar char="○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04747" y="540583"/>
            <a:ext cx="11581528" cy="664797"/>
          </a:xfrm>
        </p:spPr>
        <p:txBody>
          <a:bodyPr>
            <a:spAutoFit/>
          </a:bodyPr>
          <a:lstStyle>
            <a:lvl1pPr marL="0" marR="0" indent="0" algn="l" defTabSz="96697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ction Title</a:t>
            </a:r>
            <a:br>
              <a:rPr lang="en-US" dirty="0"/>
            </a:br>
            <a:r>
              <a:rPr lang="en-US" dirty="0"/>
              <a:t>Arial Bold, 2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Headline_placeholder">
            <a:extLst>
              <a:ext uri="{FF2B5EF4-FFF2-40B4-BE49-F238E27FC236}">
                <a16:creationId xmlns:a16="http://schemas.microsoft.com/office/drawing/2014/main" id="{F0B2DE23-2DD7-495F-A359-6FD670B2D2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4747" y="188096"/>
            <a:ext cx="11581528" cy="169277"/>
          </a:xfrm>
        </p:spPr>
        <p:txBody>
          <a:bodyPr>
            <a:spAutoFit/>
          </a:bodyPr>
          <a:lstStyle>
            <a:lvl1pPr>
              <a:defRPr sz="1100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0" name="Source_placeholder">
            <a:extLst>
              <a:ext uri="{FF2B5EF4-FFF2-40B4-BE49-F238E27FC236}">
                <a16:creationId xmlns:a16="http://schemas.microsoft.com/office/drawing/2014/main" id="{3709EDDC-053D-4794-9410-01BF5E5927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4747" y="6032862"/>
            <a:ext cx="11581528" cy="138499"/>
          </a:xfrm>
        </p:spPr>
        <p:txBody>
          <a:bodyPr>
            <a:spAutoFit/>
          </a:bodyPr>
          <a:lstStyle>
            <a:lvl1pPr>
              <a:defRPr sz="900" i="1"/>
            </a:lvl1pPr>
          </a:lstStyle>
          <a:p>
            <a:pPr marL="0" marR="0" lvl="0" indent="0" algn="l" defTabSz="4834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ource: Arial italic plain, 9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2913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410622"/>
              </p:ext>
            </p:extLst>
          </p:nvPr>
        </p:nvGraphicFramePr>
        <p:xfrm>
          <a:off x="1680" y="1681"/>
          <a:ext cx="1680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1"/>
                        <a:ext cx="1680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1" t="29160" r="2494" b="29294"/>
          <a:stretch/>
        </p:blipFill>
        <p:spPr>
          <a:xfrm>
            <a:off x="302367" y="6394337"/>
            <a:ext cx="879528" cy="268274"/>
          </a:xfrm>
          <a:prstGeom prst="rect">
            <a:avLst/>
          </a:prstGeom>
        </p:spPr>
      </p:pic>
      <p:sp>
        <p:nvSpPr>
          <p:cNvPr id="14" name="Inhaltsplatzhalter 19"/>
          <p:cNvSpPr>
            <a:spLocks noGrp="1"/>
          </p:cNvSpPr>
          <p:nvPr>
            <p:ph sz="quarter" idx="15" hasCustomPrompt="1"/>
          </p:nvPr>
        </p:nvSpPr>
        <p:spPr>
          <a:xfrm>
            <a:off x="304745" y="1602842"/>
            <a:ext cx="5637785" cy="418780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marL="190350" indent="-190350" rtl="0">
              <a:buSzPct val="80000"/>
              <a:buFont typeface="Wingdings 2" panose="05020102010507070707" pitchFamily="18" charset="2"/>
              <a:buChar char=""/>
              <a:defRPr>
                <a:solidFill>
                  <a:schemeClr val="tx1"/>
                </a:solidFill>
              </a:defRPr>
            </a:lvl2pPr>
            <a:lvl3pPr marL="380700" indent="-190350" rtl="0">
              <a:buSzPct val="80000"/>
              <a:buFont typeface="Wingdings 2" panose="05020102010507070707" pitchFamily="18" charset="2"/>
              <a:buChar char=""/>
              <a:defRPr>
                <a:solidFill>
                  <a:schemeClr val="tx1"/>
                </a:solidFill>
              </a:defRPr>
            </a:lvl3pPr>
            <a:lvl4pPr marL="567428" indent="-186345" rtl="0">
              <a:buSzPct val="8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60488" indent="-193060" rtl="0">
              <a:buSzPct val="80000"/>
              <a:buFont typeface="Arial" panose="020B0604020202020204" pitchFamily="34" charset="0"/>
              <a:buChar char="○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Inhaltsplatzhalter 19"/>
          <p:cNvSpPr>
            <a:spLocks noGrp="1"/>
          </p:cNvSpPr>
          <p:nvPr>
            <p:ph sz="quarter" idx="16" hasCustomPrompt="1"/>
          </p:nvPr>
        </p:nvSpPr>
        <p:spPr>
          <a:xfrm>
            <a:off x="6248490" y="1602842"/>
            <a:ext cx="5637785" cy="418780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marL="190350" indent="-190350" rtl="0">
              <a:buSzPct val="80000"/>
              <a:buFont typeface="Wingdings 2" panose="05020102010507070707" pitchFamily="18" charset="2"/>
              <a:buChar char=""/>
              <a:defRPr>
                <a:solidFill>
                  <a:schemeClr val="tx1"/>
                </a:solidFill>
              </a:defRPr>
            </a:lvl2pPr>
            <a:lvl3pPr marL="380700" indent="-190350" rtl="0">
              <a:buSzPct val="80000"/>
              <a:buFont typeface="Wingdings 2" panose="05020102010507070707" pitchFamily="18" charset="2"/>
              <a:buChar char=""/>
              <a:defRPr>
                <a:solidFill>
                  <a:schemeClr val="tx1"/>
                </a:solidFill>
              </a:defRPr>
            </a:lvl3pPr>
            <a:lvl4pPr marL="567428" indent="-186345" rtl="0">
              <a:buSzPct val="8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60488" indent="-193060" rtl="0">
              <a:buSzPct val="80000"/>
              <a:buFont typeface="Arial" panose="020B0604020202020204" pitchFamily="34" charset="0"/>
              <a:buChar char="○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04747" y="540583"/>
            <a:ext cx="11581528" cy="664797"/>
          </a:xfrm>
        </p:spPr>
        <p:txBody>
          <a:bodyPr>
            <a:spAutoFit/>
          </a:bodyPr>
          <a:lstStyle>
            <a:lvl1pPr marL="0" marR="0" indent="0" algn="l" defTabSz="96697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ction Title</a:t>
            </a:r>
            <a:br>
              <a:rPr lang="en-US" dirty="0"/>
            </a:br>
            <a:r>
              <a:rPr lang="en-US" dirty="0"/>
              <a:t>Arial Bold, 2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Headline_placeholder">
            <a:extLst>
              <a:ext uri="{FF2B5EF4-FFF2-40B4-BE49-F238E27FC236}">
                <a16:creationId xmlns:a16="http://schemas.microsoft.com/office/drawing/2014/main" id="{56FD85F0-A439-44F0-BE9D-D70FEDBA96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4747" y="188096"/>
            <a:ext cx="11581528" cy="169277"/>
          </a:xfrm>
        </p:spPr>
        <p:txBody>
          <a:bodyPr>
            <a:spAutoFit/>
          </a:bodyPr>
          <a:lstStyle>
            <a:lvl1pPr>
              <a:defRPr sz="1100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3" name="Source_placeholder">
            <a:extLst>
              <a:ext uri="{FF2B5EF4-FFF2-40B4-BE49-F238E27FC236}">
                <a16:creationId xmlns:a16="http://schemas.microsoft.com/office/drawing/2014/main" id="{6D30E1FB-AE0E-467F-A18A-D9663FA7E2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4747" y="6032862"/>
            <a:ext cx="11581528" cy="138499"/>
          </a:xfrm>
        </p:spPr>
        <p:txBody>
          <a:bodyPr>
            <a:spAutoFit/>
          </a:bodyPr>
          <a:lstStyle>
            <a:lvl1pPr>
              <a:defRPr sz="900" i="1"/>
            </a:lvl1pPr>
          </a:lstStyle>
          <a:p>
            <a:pPr marL="0" marR="0" lvl="0" indent="0" algn="l" defTabSz="4834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ource: Arial italic plain, 9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43914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2086865"/>
              </p:ext>
            </p:extLst>
          </p:nvPr>
        </p:nvGraphicFramePr>
        <p:xfrm>
          <a:off x="1680" y="1681"/>
          <a:ext cx="1680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1"/>
                        <a:ext cx="1680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1" t="29160" r="2494" b="29294"/>
          <a:stretch/>
        </p:blipFill>
        <p:spPr>
          <a:xfrm>
            <a:off x="302367" y="6394337"/>
            <a:ext cx="879528" cy="268274"/>
          </a:xfrm>
          <a:prstGeom prst="rect">
            <a:avLst/>
          </a:prstGeom>
        </p:spPr>
      </p:pic>
      <p:sp>
        <p:nvSpPr>
          <p:cNvPr id="16" name="Inhaltsplatzhalter 19"/>
          <p:cNvSpPr>
            <a:spLocks noGrp="1"/>
          </p:cNvSpPr>
          <p:nvPr>
            <p:ph sz="quarter" idx="15" hasCustomPrompt="1"/>
          </p:nvPr>
        </p:nvSpPr>
        <p:spPr>
          <a:xfrm>
            <a:off x="304744" y="1602842"/>
            <a:ext cx="3695034" cy="418780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marL="190350" indent="-190350" rtl="0">
              <a:buSzPct val="80000"/>
              <a:buFont typeface="Wingdings 2" panose="05020102010507070707" pitchFamily="18" charset="2"/>
              <a:buChar char=""/>
              <a:defRPr>
                <a:solidFill>
                  <a:schemeClr val="tx1"/>
                </a:solidFill>
              </a:defRPr>
            </a:lvl2pPr>
            <a:lvl3pPr marL="380700" indent="-190350" rtl="0">
              <a:buSzPct val="80000"/>
              <a:buFont typeface="Wingdings 2" panose="05020102010507070707" pitchFamily="18" charset="2"/>
              <a:buChar char=""/>
              <a:defRPr>
                <a:solidFill>
                  <a:schemeClr val="tx1"/>
                </a:solidFill>
              </a:defRPr>
            </a:lvl3pPr>
            <a:lvl4pPr marL="567428" indent="-186345" rtl="0">
              <a:buSzPct val="8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60488" indent="-193060" rtl="0">
              <a:buSzPct val="80000"/>
              <a:buFont typeface="Arial" panose="020B0604020202020204" pitchFamily="34" charset="0"/>
              <a:buChar char="○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Inhaltsplatzhalter 19"/>
          <p:cNvSpPr>
            <a:spLocks noGrp="1"/>
          </p:cNvSpPr>
          <p:nvPr>
            <p:ph sz="quarter" idx="17" hasCustomPrompt="1"/>
          </p:nvPr>
        </p:nvSpPr>
        <p:spPr>
          <a:xfrm>
            <a:off x="4247993" y="1602842"/>
            <a:ext cx="3695034" cy="418780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marL="190350" indent="-190350" rtl="0">
              <a:buSzPct val="80000"/>
              <a:buFont typeface="Wingdings 2" panose="05020102010507070707" pitchFamily="18" charset="2"/>
              <a:buChar char=""/>
              <a:defRPr>
                <a:solidFill>
                  <a:schemeClr val="tx1"/>
                </a:solidFill>
              </a:defRPr>
            </a:lvl2pPr>
            <a:lvl3pPr marL="380700" indent="-190350" rtl="0">
              <a:buSzPct val="80000"/>
              <a:buFont typeface="Wingdings 2" panose="05020102010507070707" pitchFamily="18" charset="2"/>
              <a:buChar char=""/>
              <a:defRPr>
                <a:solidFill>
                  <a:schemeClr val="tx1"/>
                </a:solidFill>
              </a:defRPr>
            </a:lvl3pPr>
            <a:lvl4pPr marL="567428" indent="-186345" rtl="0">
              <a:buSzPct val="8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60488" indent="-193060" rtl="0">
              <a:buSzPct val="80000"/>
              <a:buFont typeface="Arial" panose="020B0604020202020204" pitchFamily="34" charset="0"/>
              <a:buChar char="○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Inhaltsplatzhalter 19"/>
          <p:cNvSpPr>
            <a:spLocks noGrp="1"/>
          </p:cNvSpPr>
          <p:nvPr>
            <p:ph sz="quarter" idx="18" hasCustomPrompt="1"/>
          </p:nvPr>
        </p:nvSpPr>
        <p:spPr>
          <a:xfrm>
            <a:off x="8191241" y="1602842"/>
            <a:ext cx="3695034" cy="418780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marL="190350" indent="-190350" rtl="0">
              <a:buSzPct val="80000"/>
              <a:buFont typeface="Wingdings 2" panose="05020102010507070707" pitchFamily="18" charset="2"/>
              <a:buChar char=""/>
              <a:defRPr>
                <a:solidFill>
                  <a:schemeClr val="tx1"/>
                </a:solidFill>
              </a:defRPr>
            </a:lvl2pPr>
            <a:lvl3pPr marL="380700" indent="-190350" rtl="0">
              <a:buSzPct val="80000"/>
              <a:buFont typeface="Wingdings 2" panose="05020102010507070707" pitchFamily="18" charset="2"/>
              <a:buChar char=""/>
              <a:defRPr>
                <a:solidFill>
                  <a:schemeClr val="tx1"/>
                </a:solidFill>
              </a:defRPr>
            </a:lvl3pPr>
            <a:lvl4pPr marL="567428" indent="-186345" rtl="0">
              <a:buSzPct val="8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60488" indent="-193060" rtl="0">
              <a:buSzPct val="80000"/>
              <a:buFont typeface="Arial" panose="020B0604020202020204" pitchFamily="34" charset="0"/>
              <a:buChar char="○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04747" y="540583"/>
            <a:ext cx="11581528" cy="664797"/>
          </a:xfrm>
        </p:spPr>
        <p:txBody>
          <a:bodyPr>
            <a:spAutoFit/>
          </a:bodyPr>
          <a:lstStyle>
            <a:lvl1pPr marL="0" marR="0" indent="0" algn="l" defTabSz="96697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ction Title</a:t>
            </a:r>
            <a:br>
              <a:rPr lang="en-US" dirty="0"/>
            </a:br>
            <a:r>
              <a:rPr lang="en-US" dirty="0"/>
              <a:t>Arial Bold, 2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Headline_placeholder">
            <a:extLst>
              <a:ext uri="{FF2B5EF4-FFF2-40B4-BE49-F238E27FC236}">
                <a16:creationId xmlns:a16="http://schemas.microsoft.com/office/drawing/2014/main" id="{5CF820F5-9C1F-42F0-9858-F9538D03D6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4747" y="188096"/>
            <a:ext cx="11581528" cy="169277"/>
          </a:xfrm>
        </p:spPr>
        <p:txBody>
          <a:bodyPr>
            <a:spAutoFit/>
          </a:bodyPr>
          <a:lstStyle>
            <a:lvl1pPr>
              <a:defRPr sz="1100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5" name="Source_placeholder">
            <a:extLst>
              <a:ext uri="{FF2B5EF4-FFF2-40B4-BE49-F238E27FC236}">
                <a16:creationId xmlns:a16="http://schemas.microsoft.com/office/drawing/2014/main" id="{6CFEACD0-C2B0-405E-8B9E-DB1E046B48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4747" y="6032862"/>
            <a:ext cx="11581528" cy="138499"/>
          </a:xfrm>
        </p:spPr>
        <p:txBody>
          <a:bodyPr>
            <a:spAutoFit/>
          </a:bodyPr>
          <a:lstStyle>
            <a:lvl1pPr>
              <a:defRPr sz="900" i="1"/>
            </a:lvl1pPr>
          </a:lstStyle>
          <a:p>
            <a:pPr marL="0" marR="0" lvl="0" indent="0" algn="l" defTabSz="4834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ource: Arial italic plain, 9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39495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4856739"/>
              </p:ext>
            </p:extLst>
          </p:nvPr>
        </p:nvGraphicFramePr>
        <p:xfrm>
          <a:off x="1680" y="1681"/>
          <a:ext cx="1680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1"/>
                        <a:ext cx="1680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1" t="29160" r="2494" b="29294"/>
          <a:stretch/>
        </p:blipFill>
        <p:spPr>
          <a:xfrm>
            <a:off x="302367" y="6394337"/>
            <a:ext cx="879528" cy="268274"/>
          </a:xfrm>
          <a:prstGeom prst="rect">
            <a:avLst/>
          </a:prstGeom>
        </p:spPr>
      </p:pic>
      <p:sp>
        <p:nvSpPr>
          <p:cNvPr id="17" name="Inhaltsplatzhalter 19"/>
          <p:cNvSpPr>
            <a:spLocks noGrp="1"/>
          </p:cNvSpPr>
          <p:nvPr>
            <p:ph sz="quarter" idx="17" hasCustomPrompt="1"/>
          </p:nvPr>
        </p:nvSpPr>
        <p:spPr>
          <a:xfrm>
            <a:off x="304744" y="1602842"/>
            <a:ext cx="2704613" cy="418780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marL="190350" indent="-190350" rtl="0">
              <a:buSzPct val="80000"/>
              <a:buFont typeface="Wingdings 2" panose="05020102010507070707" pitchFamily="18" charset="2"/>
              <a:buChar char=""/>
              <a:defRPr>
                <a:solidFill>
                  <a:schemeClr val="tx1"/>
                </a:solidFill>
              </a:defRPr>
            </a:lvl2pPr>
            <a:lvl3pPr marL="380700" indent="-190350" rtl="0">
              <a:buSzPct val="80000"/>
              <a:buFont typeface="Wingdings 2" panose="05020102010507070707" pitchFamily="18" charset="2"/>
              <a:buChar char=""/>
              <a:defRPr>
                <a:solidFill>
                  <a:schemeClr val="tx1"/>
                </a:solidFill>
              </a:defRPr>
            </a:lvl3pPr>
            <a:lvl4pPr marL="567428" indent="-186345" rtl="0">
              <a:buSzPct val="8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60488" indent="-193060" rtl="0">
              <a:buSzPct val="80000"/>
              <a:buFont typeface="Arial" panose="020B0604020202020204" pitchFamily="34" charset="0"/>
              <a:buChar char="○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Inhaltsplatzhalter 19"/>
          <p:cNvSpPr>
            <a:spLocks noGrp="1"/>
          </p:cNvSpPr>
          <p:nvPr>
            <p:ph sz="quarter" idx="18" hasCustomPrompt="1"/>
          </p:nvPr>
        </p:nvSpPr>
        <p:spPr>
          <a:xfrm>
            <a:off x="3263716" y="1602842"/>
            <a:ext cx="2704613" cy="418780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marL="190350" indent="-190350" rtl="0">
              <a:buSzPct val="80000"/>
              <a:buFont typeface="Wingdings 2" panose="05020102010507070707" pitchFamily="18" charset="2"/>
              <a:buChar char=""/>
              <a:defRPr>
                <a:solidFill>
                  <a:schemeClr val="tx1"/>
                </a:solidFill>
              </a:defRPr>
            </a:lvl2pPr>
            <a:lvl3pPr marL="380700" indent="-190350" rtl="0">
              <a:buSzPct val="80000"/>
              <a:buFont typeface="Wingdings 2" panose="05020102010507070707" pitchFamily="18" charset="2"/>
              <a:buChar char=""/>
              <a:defRPr>
                <a:solidFill>
                  <a:schemeClr val="tx1"/>
                </a:solidFill>
              </a:defRPr>
            </a:lvl3pPr>
            <a:lvl4pPr marL="567428" indent="-186345" rtl="0">
              <a:buSzPct val="8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60488" indent="-193060" rtl="0">
              <a:buSzPct val="80000"/>
              <a:buFont typeface="Arial" panose="020B0604020202020204" pitchFamily="34" charset="0"/>
              <a:buChar char="○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Inhaltsplatzhalter 19"/>
          <p:cNvSpPr>
            <a:spLocks noGrp="1"/>
          </p:cNvSpPr>
          <p:nvPr>
            <p:ph sz="quarter" idx="19" hasCustomPrompt="1"/>
          </p:nvPr>
        </p:nvSpPr>
        <p:spPr>
          <a:xfrm>
            <a:off x="6222690" y="1602842"/>
            <a:ext cx="2704613" cy="418780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marL="190350" indent="-190350" rtl="0">
              <a:buSzPct val="80000"/>
              <a:buFont typeface="Wingdings 2" panose="05020102010507070707" pitchFamily="18" charset="2"/>
              <a:buChar char=""/>
              <a:defRPr>
                <a:solidFill>
                  <a:schemeClr val="tx1"/>
                </a:solidFill>
              </a:defRPr>
            </a:lvl2pPr>
            <a:lvl3pPr marL="380700" indent="-190350" rtl="0">
              <a:buSzPct val="80000"/>
              <a:buFont typeface="Wingdings 2" panose="05020102010507070707" pitchFamily="18" charset="2"/>
              <a:buChar char=""/>
              <a:defRPr>
                <a:solidFill>
                  <a:schemeClr val="tx1"/>
                </a:solidFill>
              </a:defRPr>
            </a:lvl3pPr>
            <a:lvl4pPr marL="567428" indent="-186345" rtl="0">
              <a:buSzPct val="8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60488" indent="-193060" rtl="0">
              <a:buSzPct val="80000"/>
              <a:buFont typeface="Arial" panose="020B0604020202020204" pitchFamily="34" charset="0"/>
              <a:buChar char="○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Inhaltsplatzhalter 19"/>
          <p:cNvSpPr>
            <a:spLocks noGrp="1"/>
          </p:cNvSpPr>
          <p:nvPr>
            <p:ph sz="quarter" idx="20" hasCustomPrompt="1"/>
          </p:nvPr>
        </p:nvSpPr>
        <p:spPr>
          <a:xfrm>
            <a:off x="9181662" y="1602842"/>
            <a:ext cx="2704613" cy="418780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marL="190350" indent="-190350" rtl="0">
              <a:buSzPct val="80000"/>
              <a:buFont typeface="Wingdings 2" panose="05020102010507070707" pitchFamily="18" charset="2"/>
              <a:buChar char=""/>
              <a:defRPr>
                <a:solidFill>
                  <a:schemeClr val="tx1"/>
                </a:solidFill>
              </a:defRPr>
            </a:lvl2pPr>
            <a:lvl3pPr marL="380700" indent="-190350" rtl="0">
              <a:buSzPct val="80000"/>
              <a:buFont typeface="Wingdings 2" panose="05020102010507070707" pitchFamily="18" charset="2"/>
              <a:buChar char=""/>
              <a:defRPr>
                <a:solidFill>
                  <a:schemeClr val="tx1"/>
                </a:solidFill>
              </a:defRPr>
            </a:lvl3pPr>
            <a:lvl4pPr marL="567428" indent="-186345" rtl="0">
              <a:buSzPct val="8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60488" indent="-193060" rtl="0">
              <a:buSzPct val="80000"/>
              <a:buFont typeface="Arial" panose="020B0604020202020204" pitchFamily="34" charset="0"/>
              <a:buChar char="○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04747" y="540583"/>
            <a:ext cx="11581528" cy="664797"/>
          </a:xfrm>
        </p:spPr>
        <p:txBody>
          <a:bodyPr>
            <a:spAutoFit/>
          </a:bodyPr>
          <a:lstStyle>
            <a:lvl1pPr marL="0" marR="0" indent="0" algn="l" defTabSz="96697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ction Title</a:t>
            </a:r>
            <a:br>
              <a:rPr lang="en-US" dirty="0"/>
            </a:br>
            <a:r>
              <a:rPr lang="en-US" dirty="0"/>
              <a:t>Arial Bold, 2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Headline_placeholder">
            <a:extLst>
              <a:ext uri="{FF2B5EF4-FFF2-40B4-BE49-F238E27FC236}">
                <a16:creationId xmlns:a16="http://schemas.microsoft.com/office/drawing/2014/main" id="{A739CDEC-C17A-465C-9128-F7169EBF6F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4747" y="188096"/>
            <a:ext cx="11581528" cy="169277"/>
          </a:xfrm>
        </p:spPr>
        <p:txBody>
          <a:bodyPr>
            <a:spAutoFit/>
          </a:bodyPr>
          <a:lstStyle>
            <a:lvl1pPr>
              <a:defRPr sz="1100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6" name="Source_placeholder">
            <a:extLst>
              <a:ext uri="{FF2B5EF4-FFF2-40B4-BE49-F238E27FC236}">
                <a16:creationId xmlns:a16="http://schemas.microsoft.com/office/drawing/2014/main" id="{704EAA76-293D-424B-9C61-918F467CB4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4747" y="6032862"/>
            <a:ext cx="11581528" cy="138499"/>
          </a:xfrm>
        </p:spPr>
        <p:txBody>
          <a:bodyPr>
            <a:spAutoFit/>
          </a:bodyPr>
          <a:lstStyle>
            <a:lvl1pPr>
              <a:defRPr sz="900" i="1"/>
            </a:lvl1pPr>
          </a:lstStyle>
          <a:p>
            <a:pPr marL="0" marR="0" lvl="0" indent="0" algn="l" defTabSz="4834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ource: Arial italic plain, 9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5601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479129934"/>
              </p:ext>
            </p:extLst>
          </p:nvPr>
        </p:nvGraphicFramePr>
        <p:xfrm>
          <a:off x="1682" y="1680"/>
          <a:ext cx="1679" cy="16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682" y="1680"/>
                        <a:ext cx="1679" cy="16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05723" y="540583"/>
            <a:ext cx="11580552" cy="70304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Action Title</a:t>
            </a:r>
            <a:br>
              <a:rPr lang="en-US" dirty="0"/>
            </a:br>
            <a:r>
              <a:rPr lang="en-US" dirty="0"/>
              <a:t>Arial Bold, 2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04747" y="1602842"/>
            <a:ext cx="11581530" cy="41878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7" name="Textfeld 76"/>
          <p:cNvSpPr txBox="1"/>
          <p:nvPr userDrawn="1"/>
        </p:nvSpPr>
        <p:spPr>
          <a:xfrm>
            <a:off x="5662387" y="6503461"/>
            <a:ext cx="868524" cy="18654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rtl="0"/>
            <a:fld id="{FAAB48A4-D341-4AE9-8566-EA7878570C6A}" type="slidenum">
              <a:rPr lang="en-US" sz="1100" smtClean="0">
                <a:solidFill>
                  <a:srgbClr val="4B4B4B"/>
                </a:solidFill>
              </a:rPr>
              <a:pPr algn="ctr" rtl="0"/>
              <a:t>‹#›</a:t>
            </a:fld>
            <a:endParaRPr lang="en-US" sz="1100" dirty="0">
              <a:solidFill>
                <a:srgbClr val="4B4B4B"/>
              </a:solidFill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-167849" y="-173342"/>
            <a:ext cx="12527698" cy="7204685"/>
            <a:chOff x="-167849" y="-173342"/>
            <a:chExt cx="12527698" cy="7204685"/>
          </a:xfrm>
        </p:grpSpPr>
        <p:cxnSp>
          <p:nvCxnSpPr>
            <p:cNvPr id="28" name="Gerade Verbindung 56"/>
            <p:cNvCxnSpPr/>
            <p:nvPr userDrawn="1"/>
          </p:nvCxnSpPr>
          <p:spPr>
            <a:xfrm>
              <a:off x="12251849" y="382898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57"/>
            <p:cNvCxnSpPr/>
            <p:nvPr userDrawn="1"/>
          </p:nvCxnSpPr>
          <p:spPr>
            <a:xfrm>
              <a:off x="12251849" y="540582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58"/>
            <p:cNvCxnSpPr/>
            <p:nvPr userDrawn="1"/>
          </p:nvCxnSpPr>
          <p:spPr>
            <a:xfrm>
              <a:off x="12251849" y="1243623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59"/>
            <p:cNvCxnSpPr/>
            <p:nvPr userDrawn="1"/>
          </p:nvCxnSpPr>
          <p:spPr>
            <a:xfrm>
              <a:off x="12251849" y="1602843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0"/>
            <p:cNvCxnSpPr/>
            <p:nvPr userDrawn="1"/>
          </p:nvCxnSpPr>
          <p:spPr>
            <a:xfrm>
              <a:off x="12251849" y="6171361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1"/>
            <p:cNvCxnSpPr/>
            <p:nvPr userDrawn="1"/>
          </p:nvCxnSpPr>
          <p:spPr>
            <a:xfrm>
              <a:off x="12251849" y="6398950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62"/>
            <p:cNvCxnSpPr/>
            <p:nvPr userDrawn="1"/>
          </p:nvCxnSpPr>
          <p:spPr>
            <a:xfrm>
              <a:off x="12251849" y="6663652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6"/>
            <p:cNvCxnSpPr/>
            <p:nvPr userDrawn="1"/>
          </p:nvCxnSpPr>
          <p:spPr>
            <a:xfrm>
              <a:off x="-167849" y="382898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7"/>
            <p:cNvCxnSpPr/>
            <p:nvPr userDrawn="1"/>
          </p:nvCxnSpPr>
          <p:spPr>
            <a:xfrm>
              <a:off x="-167849" y="540582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8"/>
            <p:cNvCxnSpPr/>
            <p:nvPr userDrawn="1"/>
          </p:nvCxnSpPr>
          <p:spPr>
            <a:xfrm>
              <a:off x="-167849" y="1243623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9"/>
            <p:cNvCxnSpPr/>
            <p:nvPr userDrawn="1"/>
          </p:nvCxnSpPr>
          <p:spPr>
            <a:xfrm>
              <a:off x="-167849" y="1602843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60"/>
            <p:cNvCxnSpPr/>
            <p:nvPr userDrawn="1"/>
          </p:nvCxnSpPr>
          <p:spPr>
            <a:xfrm>
              <a:off x="-167849" y="6171361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61"/>
            <p:cNvCxnSpPr/>
            <p:nvPr userDrawn="1"/>
          </p:nvCxnSpPr>
          <p:spPr>
            <a:xfrm>
              <a:off x="-167849" y="6398950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62"/>
            <p:cNvCxnSpPr/>
            <p:nvPr userDrawn="1"/>
          </p:nvCxnSpPr>
          <p:spPr>
            <a:xfrm>
              <a:off x="-167849" y="6663652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4"/>
            <p:cNvCxnSpPr/>
            <p:nvPr userDrawn="1"/>
          </p:nvCxnSpPr>
          <p:spPr>
            <a:xfrm>
              <a:off x="305724" y="-173342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>
            <a:xfrm>
              <a:off x="11886275" y="-173342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14"/>
            <p:cNvCxnSpPr/>
            <p:nvPr userDrawn="1"/>
          </p:nvCxnSpPr>
          <p:spPr>
            <a:xfrm>
              <a:off x="305724" y="6923343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21"/>
            <p:cNvCxnSpPr/>
            <p:nvPr userDrawn="1"/>
          </p:nvCxnSpPr>
          <p:spPr>
            <a:xfrm>
              <a:off x="6095999" y="-173342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21"/>
            <p:cNvCxnSpPr/>
            <p:nvPr userDrawn="1"/>
          </p:nvCxnSpPr>
          <p:spPr>
            <a:xfrm>
              <a:off x="6095999" y="6923343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8"/>
            <p:cNvCxnSpPr/>
            <p:nvPr userDrawn="1"/>
          </p:nvCxnSpPr>
          <p:spPr>
            <a:xfrm>
              <a:off x="11886275" y="6923343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21"/>
            <p:cNvCxnSpPr/>
            <p:nvPr userDrawn="1"/>
          </p:nvCxnSpPr>
          <p:spPr>
            <a:xfrm>
              <a:off x="5842013" y="-173342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21"/>
            <p:cNvCxnSpPr/>
            <p:nvPr userDrawn="1"/>
          </p:nvCxnSpPr>
          <p:spPr>
            <a:xfrm>
              <a:off x="5842013" y="6923343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21"/>
            <p:cNvCxnSpPr/>
            <p:nvPr userDrawn="1"/>
          </p:nvCxnSpPr>
          <p:spPr>
            <a:xfrm>
              <a:off x="6349987" y="-173342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21"/>
            <p:cNvCxnSpPr/>
            <p:nvPr userDrawn="1"/>
          </p:nvCxnSpPr>
          <p:spPr>
            <a:xfrm>
              <a:off x="6349987" y="6923343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21"/>
            <p:cNvCxnSpPr/>
            <p:nvPr userDrawn="1"/>
          </p:nvCxnSpPr>
          <p:spPr>
            <a:xfrm>
              <a:off x="3789632" y="-173342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21"/>
            <p:cNvCxnSpPr/>
            <p:nvPr userDrawn="1"/>
          </p:nvCxnSpPr>
          <p:spPr>
            <a:xfrm>
              <a:off x="3789632" y="6923343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21"/>
            <p:cNvCxnSpPr/>
            <p:nvPr userDrawn="1"/>
          </p:nvCxnSpPr>
          <p:spPr>
            <a:xfrm>
              <a:off x="8402368" y="-173342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21"/>
            <p:cNvCxnSpPr/>
            <p:nvPr userDrawn="1"/>
          </p:nvCxnSpPr>
          <p:spPr>
            <a:xfrm>
              <a:off x="8402368" y="6923343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9"/>
    </p:custDataLst>
    <p:extLst>
      <p:ext uri="{BB962C8B-B14F-4D97-AF65-F5344CB8AC3E}">
        <p14:creationId xmlns:p14="http://schemas.microsoft.com/office/powerpoint/2010/main" val="792883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8" r:id="rId2"/>
    <p:sldLayoutId id="2147483665" r:id="rId3"/>
    <p:sldLayoutId id="2147483669" r:id="rId4"/>
    <p:sldLayoutId id="2147483670" r:id="rId5"/>
    <p:sldLayoutId id="2147483658" r:id="rId6"/>
    <p:sldLayoutId id="2147483659" r:id="rId7"/>
    <p:sldLayoutId id="2147483660" r:id="rId8"/>
    <p:sldLayoutId id="2147483661" r:id="rId9"/>
    <p:sldLayoutId id="2147483664" r:id="rId10"/>
    <p:sldLayoutId id="2147483666" r:id="rId11"/>
    <p:sldLayoutId id="2147483671" r:id="rId12"/>
    <p:sldLayoutId id="2147483672" r:id="rId13"/>
    <p:sldLayoutId id="2147483657" r:id="rId14"/>
    <p:sldLayoutId id="2147483667" r:id="rId15"/>
    <p:sldLayoutId id="2147483662" r:id="rId16"/>
  </p:sldLayoutIdLst>
  <p:hf sldNum="0" hdr="0" ftr="0"/>
  <p:txStyles>
    <p:titleStyle>
      <a:lvl1pPr algn="l" defTabSz="966978" rtl="0" eaLnBrk="1" latinLnBrk="0" hangingPunct="1">
        <a:lnSpc>
          <a:spcPct val="90000"/>
        </a:lnSpc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483489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90350" indent="-190350" algn="l" defTabSz="483489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80000"/>
        <a:buFont typeface="Wingdings 2" panose="05020102010507070707" pitchFamily="18" charset="2"/>
        <a:buChar char="¡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80700" indent="-190350" algn="l" defTabSz="4644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80000"/>
        <a:buFont typeface="Wingdings 2" panose="05020102010507070707" pitchFamily="18" charset="2"/>
        <a:buChar char="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3892" indent="-190350" algn="l" defTabSz="483489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8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99470" indent="-190350" algn="l" defTabSz="483489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80000"/>
        <a:buFont typeface="Arial" panose="020B0604020202020204" pitchFamily="34" charset="0"/>
        <a:buChar char="○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985445" indent="-189703" algn="l" defTabSz="966978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80000"/>
        <a:buFont typeface="Wingdings 2" panose="05020102010507070707" pitchFamily="18" charset="2"/>
        <a:buChar char="¡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153323" indent="-189703" algn="l" defTabSz="966978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80000"/>
        <a:buFont typeface="Wingdings 2" panose="05020102010507070707" pitchFamily="18" charset="2"/>
        <a:buChar char="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354777" indent="-189703" algn="l" defTabSz="966978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8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559588" indent="-189703" algn="l" defTabSz="966978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80000"/>
        <a:buFont typeface="Arial" panose="020B0604020202020204" pitchFamily="34" charset="0"/>
        <a:buChar char="○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6697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89" algn="l" defTabSz="96697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978" algn="l" defTabSz="96697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467" algn="l" defTabSz="96697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956" algn="l" defTabSz="96697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445" algn="l" defTabSz="96697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934" algn="l" defTabSz="96697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4423" algn="l" defTabSz="96697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912" algn="l" defTabSz="96697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7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png"/><Relationship Id="rId2" Type="http://schemas.openxmlformats.org/officeDocument/2006/relationships/tags" Target="../tags/tag3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8.png"/><Relationship Id="rId2" Type="http://schemas.openxmlformats.org/officeDocument/2006/relationships/tags" Target="../tags/tag3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9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1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0.png"/><Relationship Id="rId2" Type="http://schemas.openxmlformats.org/officeDocument/2006/relationships/tags" Target="../tags/tag38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10" Type="http://schemas.openxmlformats.org/officeDocument/2006/relationships/image" Target="../media/image22.jpg"/><Relationship Id="rId4" Type="http://schemas.openxmlformats.org/officeDocument/2006/relationships/notesSlide" Target="../notesSlides/notesSlide15.xml"/><Relationship Id="rId9" Type="http://schemas.microsoft.com/office/2007/relationships/hdphoto" Target="../media/hdphoto2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9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1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2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5.png"/><Relationship Id="rId2" Type="http://schemas.openxmlformats.org/officeDocument/2006/relationships/tags" Target="../tags/tag31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BD3E6B8-688A-4D90-A4CE-5E89DEE698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7089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cs typeface="Calibri Light"/>
              </a:rPr>
              <a:t>Lab Automation with Ansi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08216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224" y="1679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3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24" y="1679"/>
                        <a:ext cx="1679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3424F89-B30B-4F57-86A4-863DFB1CCB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47" y="540583"/>
            <a:ext cx="11581528" cy="332399"/>
          </a:xfrm>
        </p:spPr>
        <p:txBody>
          <a:bodyPr vert="horz"/>
          <a:lstStyle/>
          <a:p>
            <a:pPr algn="l"/>
            <a:r>
              <a:rPr lang="en-US" dirty="0"/>
              <a:t>Nested Playbook</a:t>
            </a:r>
            <a:endParaRPr lang="en-DE" sz="2400" b="1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4ABC00-0BC4-4B98-8C5C-7A0882EC0F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Lab Automation with Ansib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939FFF8-5564-7E85-B416-F1CF83CD9C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50627" y="4833973"/>
            <a:ext cx="8440034" cy="915833"/>
          </a:xfrm>
          <a:prstGeom prst="rect">
            <a:avLst/>
          </a:prstGeom>
        </p:spPr>
      </p:pic>
      <p:sp>
        <p:nvSpPr>
          <p:cNvPr id="8" name="Plus Sign 7">
            <a:extLst>
              <a:ext uri="{FF2B5EF4-FFF2-40B4-BE49-F238E27FC236}">
                <a16:creationId xmlns:a16="http://schemas.microsoft.com/office/drawing/2014/main" id="{DF909DA9-1111-BF5C-745A-465097FD75BE}"/>
              </a:ext>
            </a:extLst>
          </p:cNvPr>
          <p:cNvSpPr/>
          <p:nvPr/>
        </p:nvSpPr>
        <p:spPr>
          <a:xfrm>
            <a:off x="7418365" y="5198582"/>
            <a:ext cx="167951" cy="186613"/>
          </a:xfrm>
          <a:prstGeom prst="mathPlus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buClr>
                <a:schemeClr val="tx1"/>
              </a:buClr>
              <a:buSzPct val="80000"/>
              <a:buFont typeface="Wingdings 2" panose="05020102010507070707" pitchFamily="18" charset="2"/>
              <a:buChar char="¡"/>
            </a:pP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10" name="Plus Sign 9">
            <a:extLst>
              <a:ext uri="{FF2B5EF4-FFF2-40B4-BE49-F238E27FC236}">
                <a16:creationId xmlns:a16="http://schemas.microsoft.com/office/drawing/2014/main" id="{0D19A4C2-1598-C087-AA47-620B81F15F9C}"/>
              </a:ext>
            </a:extLst>
          </p:cNvPr>
          <p:cNvSpPr/>
          <p:nvPr/>
        </p:nvSpPr>
        <p:spPr>
          <a:xfrm>
            <a:off x="8904513" y="5198582"/>
            <a:ext cx="167951" cy="186613"/>
          </a:xfrm>
          <a:prstGeom prst="mathPlus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buClr>
                <a:schemeClr val="tx1"/>
              </a:buClr>
              <a:buSzPct val="80000"/>
              <a:buFont typeface="Wingdings 2" panose="05020102010507070707" pitchFamily="18" charset="2"/>
              <a:buChar char="¡"/>
            </a:pP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11" name="Plus Sign 10">
            <a:extLst>
              <a:ext uri="{FF2B5EF4-FFF2-40B4-BE49-F238E27FC236}">
                <a16:creationId xmlns:a16="http://schemas.microsoft.com/office/drawing/2014/main" id="{3EE6D241-7286-D537-6607-D8BDFB14DFBD}"/>
              </a:ext>
            </a:extLst>
          </p:cNvPr>
          <p:cNvSpPr/>
          <p:nvPr/>
        </p:nvSpPr>
        <p:spPr>
          <a:xfrm>
            <a:off x="8904513" y="5563191"/>
            <a:ext cx="167951" cy="186613"/>
          </a:xfrm>
          <a:prstGeom prst="mathPlus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buClr>
                <a:schemeClr val="tx1"/>
              </a:buClr>
              <a:buSzPct val="80000"/>
              <a:buFont typeface="Wingdings 2" panose="05020102010507070707" pitchFamily="18" charset="2"/>
              <a:buChar char="¡"/>
            </a:pP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12" name="Plus Sign 11">
            <a:extLst>
              <a:ext uri="{FF2B5EF4-FFF2-40B4-BE49-F238E27FC236}">
                <a16:creationId xmlns:a16="http://schemas.microsoft.com/office/drawing/2014/main" id="{F843E4D7-40BF-B42A-79A3-703E14B03C8D}"/>
              </a:ext>
            </a:extLst>
          </p:cNvPr>
          <p:cNvSpPr/>
          <p:nvPr/>
        </p:nvSpPr>
        <p:spPr>
          <a:xfrm>
            <a:off x="3726553" y="5563190"/>
            <a:ext cx="167951" cy="186613"/>
          </a:xfrm>
          <a:prstGeom prst="mathPlus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buClr>
                <a:schemeClr val="tx1"/>
              </a:buClr>
              <a:buSzPct val="80000"/>
              <a:buFont typeface="Wingdings 2" panose="05020102010507070707" pitchFamily="18" charset="2"/>
              <a:buChar char="¡"/>
            </a:pP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14" name="Plus Sign 13">
            <a:extLst>
              <a:ext uri="{FF2B5EF4-FFF2-40B4-BE49-F238E27FC236}">
                <a16:creationId xmlns:a16="http://schemas.microsoft.com/office/drawing/2014/main" id="{902A5EF2-EAE8-94B5-7299-41608A3FB7EB}"/>
              </a:ext>
            </a:extLst>
          </p:cNvPr>
          <p:cNvSpPr/>
          <p:nvPr/>
        </p:nvSpPr>
        <p:spPr>
          <a:xfrm>
            <a:off x="3726552" y="5198582"/>
            <a:ext cx="167951" cy="186613"/>
          </a:xfrm>
          <a:prstGeom prst="mathPlus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buClr>
                <a:schemeClr val="tx1"/>
              </a:buClr>
              <a:buSzPct val="80000"/>
              <a:buFont typeface="Wingdings 2" panose="05020102010507070707" pitchFamily="18" charset="2"/>
              <a:buChar char="¡"/>
            </a:pPr>
            <a:endParaRPr lang="en-DE" sz="1400" dirty="0">
              <a:solidFill>
                <a:schemeClr val="tx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5A6EECA-9E85-17E4-F534-ED106929CB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63504" y="1050977"/>
            <a:ext cx="5464013" cy="3406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6817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224" y="1679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8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24" y="1679"/>
                        <a:ext cx="1679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3424F89-B30B-4F57-86A4-863DFB1CCB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47" y="540583"/>
            <a:ext cx="11581528" cy="332399"/>
          </a:xfrm>
        </p:spPr>
        <p:txBody>
          <a:bodyPr vert="horz"/>
          <a:lstStyle/>
          <a:p>
            <a:pPr algn="l"/>
            <a:r>
              <a:rPr lang="en-US" dirty="0"/>
              <a:t>Nested Playbook output (1/2)</a:t>
            </a:r>
            <a:endParaRPr lang="en-DE" sz="2400" b="1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4ABC00-0BC4-4B98-8C5C-7A0882EC0F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Lab Automation with Ansib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59FEF2F-3BEE-6972-2A63-CB915C2CD3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7460" y="917903"/>
            <a:ext cx="10197079" cy="5417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7783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224" y="1679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6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24" y="1679"/>
                        <a:ext cx="1679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3424F89-B30B-4F57-86A4-863DFB1CCB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47" y="540583"/>
            <a:ext cx="11581528" cy="332399"/>
          </a:xfrm>
        </p:spPr>
        <p:txBody>
          <a:bodyPr vert="horz"/>
          <a:lstStyle/>
          <a:p>
            <a:pPr algn="l"/>
            <a:r>
              <a:rPr lang="en-US" dirty="0"/>
              <a:t>Nested Playbook output (2/2)</a:t>
            </a:r>
            <a:endParaRPr lang="en-DE" sz="2400" b="1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4ABC00-0BC4-4B98-8C5C-7A0882EC0F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Lab Automation with Ansib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DC2FE86-2DE1-7FA3-2694-6EA6C19DA18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5899" y="872982"/>
            <a:ext cx="10279224" cy="5460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5544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224" y="1679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24" y="1679"/>
                        <a:ext cx="1679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3424F89-B30B-4F57-86A4-863DFB1CCB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47" y="540583"/>
            <a:ext cx="11581528" cy="332399"/>
          </a:xfrm>
        </p:spPr>
        <p:txBody>
          <a:bodyPr vert="horz"/>
          <a:lstStyle/>
          <a:p>
            <a:pPr algn="l"/>
            <a:r>
              <a:rPr lang="en-US" sz="2400" b="1" dirty="0"/>
              <a:t>Flow diagram</a:t>
            </a:r>
            <a:endParaRPr lang="en-DE" sz="2400" b="1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4ABC00-0BC4-4B98-8C5C-7A0882EC0F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Lab Automation with Ansible</a:t>
            </a:r>
          </a:p>
        </p:txBody>
      </p:sp>
    </p:spTree>
    <p:extLst>
      <p:ext uri="{BB962C8B-B14F-4D97-AF65-F5344CB8AC3E}">
        <p14:creationId xmlns:p14="http://schemas.microsoft.com/office/powerpoint/2010/main" val="14874660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224" y="1679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7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24" y="1679"/>
                        <a:ext cx="1679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3424F89-B30B-4F57-86A4-863DFB1CCB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47" y="540583"/>
            <a:ext cx="11581528" cy="332399"/>
          </a:xfrm>
        </p:spPr>
        <p:txBody>
          <a:bodyPr vert="horz"/>
          <a:lstStyle/>
          <a:p>
            <a:pPr algn="l"/>
            <a:r>
              <a:rPr lang="en-US" sz="2400" b="1" dirty="0"/>
              <a:t>Flow diagram</a:t>
            </a:r>
            <a:endParaRPr lang="en-DE" sz="2400" b="1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4ABC00-0BC4-4B98-8C5C-7A0882EC0F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Lab Automation with Ansible</a:t>
            </a:r>
          </a:p>
        </p:txBody>
      </p:sp>
    </p:spTree>
    <p:extLst>
      <p:ext uri="{BB962C8B-B14F-4D97-AF65-F5344CB8AC3E}">
        <p14:creationId xmlns:p14="http://schemas.microsoft.com/office/powerpoint/2010/main" val="18471643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DB4DF97-C9E9-4A3B-A0CC-1A2074DCD418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0F5626-5C9A-430E-95B0-F4123AF04440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848ECE-398D-4E7C-8798-ED358B0A5ADC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812EF1A-6803-46A1-93A3-3C3CF8CD3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FBDF062-7930-4BD5-95BF-D60727B87E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FA26EC2-F318-414F-8F53-A1762C672E4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6771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3407532"/>
              </p:ext>
            </p:extLst>
          </p:nvPr>
        </p:nvGraphicFramePr>
        <p:xfrm>
          <a:off x="5224" y="1679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7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24" y="1679"/>
                        <a:ext cx="1679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/>
        <p:txBody>
          <a:bodyPr>
            <a:spAutoFit/>
          </a:bodyPr>
          <a:lstStyle/>
          <a:p>
            <a:r>
              <a:rPr lang="en-US" b="1" dirty="0"/>
              <a:t>Place for your heading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dirty="0"/>
              <a:t>Click to edit text</a:t>
            </a:r>
          </a:p>
          <a:p>
            <a:pPr marL="190350" lvl="1" indent="-190350" defTabSz="483489">
              <a:spcBef>
                <a:spcPts val="0"/>
              </a:spcBef>
              <a:spcAft>
                <a:spcPts val="300"/>
              </a:spcAft>
              <a:buSzPct val="80000"/>
            </a:pPr>
            <a:r>
              <a:rPr lang="en-US" dirty="0"/>
              <a:t>First Level</a:t>
            </a:r>
          </a:p>
          <a:p>
            <a:pPr marL="370350" lvl="2" indent="-190350" defTabSz="483489">
              <a:spcBef>
                <a:spcPts val="0"/>
              </a:spcBef>
              <a:spcAft>
                <a:spcPts val="300"/>
              </a:spcAft>
              <a:buSzPct val="80000"/>
            </a:pPr>
            <a:r>
              <a:rPr lang="en-US" dirty="0"/>
              <a:t>Second Level</a:t>
            </a:r>
          </a:p>
          <a:p>
            <a:pPr marL="546925" lvl="3" indent="-190350" defTabSz="483489">
              <a:spcBef>
                <a:spcPts val="0"/>
              </a:spcBef>
              <a:spcAft>
                <a:spcPts val="300"/>
              </a:spcAft>
              <a:buSzPct val="80000"/>
            </a:pPr>
            <a:r>
              <a:rPr lang="en-US" dirty="0"/>
              <a:t>Third Level</a:t>
            </a:r>
          </a:p>
          <a:p>
            <a:pPr marL="729488" lvl="4" indent="-190350" defTabSz="483489">
              <a:spcBef>
                <a:spcPts val="0"/>
              </a:spcBef>
              <a:spcAft>
                <a:spcPts val="300"/>
              </a:spcAft>
              <a:buSzPct val="80000"/>
            </a:pPr>
            <a:r>
              <a:rPr lang="en-US" dirty="0"/>
              <a:t>Fourth Level</a:t>
            </a:r>
            <a:endParaRPr lang="en-US" b="1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/>
          </p:nvPr>
        </p:nvSpPr>
        <p:spPr/>
        <p:txBody>
          <a:bodyPr>
            <a:spAutoFit/>
          </a:bodyPr>
          <a:lstStyle/>
          <a:p>
            <a:r>
              <a:rPr lang="en-US" b="1" dirty="0"/>
              <a:t>Place for your heading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dirty="0"/>
              <a:t>Click to edit text</a:t>
            </a:r>
          </a:p>
          <a:p>
            <a:pPr marL="190350" lvl="1" indent="-190350" defTabSz="483489">
              <a:spcBef>
                <a:spcPts val="0"/>
              </a:spcBef>
              <a:spcAft>
                <a:spcPts val="300"/>
              </a:spcAft>
              <a:buSzPct val="80000"/>
            </a:pPr>
            <a:r>
              <a:rPr lang="en-US" dirty="0"/>
              <a:t>First Level</a:t>
            </a:r>
          </a:p>
          <a:p>
            <a:pPr marL="370350" lvl="2" indent="-190350" defTabSz="483489">
              <a:spcBef>
                <a:spcPts val="0"/>
              </a:spcBef>
              <a:spcAft>
                <a:spcPts val="300"/>
              </a:spcAft>
              <a:buSzPct val="80000"/>
            </a:pPr>
            <a:r>
              <a:rPr lang="en-US" dirty="0"/>
              <a:t>Second Level</a:t>
            </a:r>
          </a:p>
          <a:p>
            <a:pPr marL="546925" lvl="3" indent="-190350" defTabSz="483489">
              <a:spcBef>
                <a:spcPts val="0"/>
              </a:spcBef>
              <a:spcAft>
                <a:spcPts val="300"/>
              </a:spcAft>
              <a:buSzPct val="80000"/>
            </a:pPr>
            <a:r>
              <a:rPr lang="en-US" dirty="0"/>
              <a:t>Third Level</a:t>
            </a:r>
          </a:p>
          <a:p>
            <a:pPr marL="729488" lvl="4" indent="-190350" defTabSz="483489">
              <a:spcBef>
                <a:spcPts val="0"/>
              </a:spcBef>
              <a:spcAft>
                <a:spcPts val="300"/>
              </a:spcAft>
              <a:buSzPct val="80000"/>
            </a:pPr>
            <a:r>
              <a:rPr lang="en-US" dirty="0"/>
              <a:t>Fourth Level</a:t>
            </a:r>
            <a:endParaRPr lang="en-US" b="1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46C90E9-9096-448B-A4D2-21559FD0C1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DF1FA36-9C22-488B-B8C8-C96F64A705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1BC3C74-224E-4B4E-8575-A7DF677D27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76325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747" y="540583"/>
            <a:ext cx="11581528" cy="332399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5939008"/>
              </p:ext>
            </p:extLst>
          </p:nvPr>
        </p:nvGraphicFramePr>
        <p:xfrm>
          <a:off x="2686489" y="1600926"/>
          <a:ext cx="6819023" cy="39109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4861">
                  <a:extLst>
                    <a:ext uri="{9D8B030D-6E8A-4147-A177-3AD203B41FA5}">
                      <a16:colId xmlns:a16="http://schemas.microsoft.com/office/drawing/2014/main" val="912981487"/>
                    </a:ext>
                  </a:extLst>
                </a:gridCol>
                <a:gridCol w="6324162">
                  <a:extLst>
                    <a:ext uri="{9D8B030D-6E8A-4147-A177-3AD203B41FA5}">
                      <a16:colId xmlns:a16="http://schemas.microsoft.com/office/drawing/2014/main" val="1699494819"/>
                    </a:ext>
                  </a:extLst>
                </a:gridCol>
              </a:tblGrid>
              <a:tr h="558713">
                <a:tc>
                  <a:txBody>
                    <a:bodyPr/>
                    <a:lstStyle/>
                    <a:p>
                      <a:pPr algn="ctr" rtl="0"/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01</a:t>
                      </a:r>
                    </a:p>
                  </a:txBody>
                  <a:tcPr marL="0" marR="96700" marT="48350" marB="48350" anchor="ctr">
                    <a:lnL w="12700" cmpd="sng"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114213" marR="96700" marT="48350" marB="4835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1700308"/>
                  </a:ext>
                </a:extLst>
              </a:tr>
              <a:tr h="558713">
                <a:tc>
                  <a:txBody>
                    <a:bodyPr/>
                    <a:lstStyle/>
                    <a:p>
                      <a:pPr algn="ctr" rtl="0"/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02</a:t>
                      </a:r>
                    </a:p>
                  </a:txBody>
                  <a:tcPr marL="0" marR="96700" marT="48350" marB="48350" anchor="ctr">
                    <a:lnL w="12700" cmpd="sng"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114213" marR="96700" marT="48350" marB="4835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639587"/>
                  </a:ext>
                </a:extLst>
              </a:tr>
              <a:tr h="558713">
                <a:tc>
                  <a:txBody>
                    <a:bodyPr/>
                    <a:lstStyle/>
                    <a:p>
                      <a:pPr algn="ctr" rtl="0"/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03</a:t>
                      </a:r>
                    </a:p>
                  </a:txBody>
                  <a:tcPr marL="0" marR="96700" marT="48350" marB="48350" anchor="ctr">
                    <a:lnL w="12700" cmpd="sng"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114213" marR="96700" marT="48350" marB="4835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4292836"/>
                  </a:ext>
                </a:extLst>
              </a:tr>
              <a:tr h="558713">
                <a:tc>
                  <a:txBody>
                    <a:bodyPr/>
                    <a:lstStyle/>
                    <a:p>
                      <a:pPr algn="ctr" rtl="0"/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04</a:t>
                      </a:r>
                    </a:p>
                  </a:txBody>
                  <a:tcPr marL="0" marR="96700" marT="48350" marB="48350" anchor="ctr">
                    <a:lnL w="12700" cmpd="sng"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114213" marR="96700" marT="48350" marB="4835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1150222"/>
                  </a:ext>
                </a:extLst>
              </a:tr>
              <a:tr h="558713">
                <a:tc>
                  <a:txBody>
                    <a:bodyPr/>
                    <a:lstStyle/>
                    <a:p>
                      <a:pPr algn="ctr" rtl="0"/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05</a:t>
                      </a:r>
                    </a:p>
                  </a:txBody>
                  <a:tcPr marL="0" marR="96700" marT="48350" marB="48350" anchor="ctr">
                    <a:lnL w="12700" cmpd="sng"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114213" marR="96700" marT="48350" marB="4835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2775632"/>
                  </a:ext>
                </a:extLst>
              </a:tr>
              <a:tr h="558713">
                <a:tc>
                  <a:txBody>
                    <a:bodyPr/>
                    <a:lstStyle/>
                    <a:p>
                      <a:pPr algn="ctr" rtl="0"/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06</a:t>
                      </a:r>
                    </a:p>
                  </a:txBody>
                  <a:tcPr marL="0" marR="96700" marT="48350" marB="48350" anchor="ctr">
                    <a:lnL w="12700" cmpd="sng"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114213" marR="96700" marT="48350" marB="4835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5919662"/>
                  </a:ext>
                </a:extLst>
              </a:tr>
              <a:tr h="558713">
                <a:tc>
                  <a:txBody>
                    <a:bodyPr/>
                    <a:lstStyle/>
                    <a:p>
                      <a:pPr algn="ctr" rtl="0"/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07</a:t>
                      </a:r>
                    </a:p>
                  </a:txBody>
                  <a:tcPr marL="0" marR="96700" marT="48350" marB="48350" anchor="ctr">
                    <a:lnL w="12700" cmpd="sng"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114213" marR="96700" marT="48350" marB="4835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75718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93449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429134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1870560"/>
              </p:ext>
            </p:extLst>
          </p:nvPr>
        </p:nvGraphicFramePr>
        <p:xfrm>
          <a:off x="5224" y="1679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1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24" y="1679"/>
                        <a:ext cx="1679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/>
        </p:nvSpPr>
        <p:spPr>
          <a:xfrm>
            <a:off x="3548" y="-1"/>
            <a:ext cx="6345130" cy="6858001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2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091" y="540584"/>
            <a:ext cx="5787400" cy="703041"/>
          </a:xfrm>
        </p:spPr>
        <p:txBody>
          <a:bodyPr vert="horz"/>
          <a:lstStyle/>
          <a:p>
            <a:r>
              <a:rPr lang="en-US" sz="4400" dirty="0">
                <a:solidFill>
                  <a:schemeClr val="bg1"/>
                </a:solidFill>
              </a:rPr>
              <a:t>Thank you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>
          <a:xfrm>
            <a:off x="1348686" y="1865054"/>
            <a:ext cx="3973108" cy="1515800"/>
          </a:xfr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John Doe</a:t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Detecon International GmbH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Cluster</a:t>
            </a:r>
          </a:p>
          <a:p>
            <a:r>
              <a:rPr lang="en-US" sz="1200" dirty="0" err="1">
                <a:solidFill>
                  <a:schemeClr val="bg1"/>
                </a:solidFill>
              </a:rPr>
              <a:t>Sternengasse</a:t>
            </a:r>
            <a:r>
              <a:rPr lang="en-US" sz="1200" dirty="0">
                <a:solidFill>
                  <a:schemeClr val="bg1"/>
                </a:solidFill>
              </a:rPr>
              <a:t> 14-16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50676 Cologne (Germany)</a:t>
            </a:r>
            <a:br>
              <a:rPr lang="en-US" sz="1200" dirty="0">
                <a:solidFill>
                  <a:schemeClr val="bg1"/>
                </a:solidFill>
              </a:rPr>
            </a:b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Mobile: +49 xxx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Email: John.Doe@detecon.com</a:t>
            </a:r>
          </a:p>
        </p:txBody>
      </p:sp>
      <p:pic>
        <p:nvPicPr>
          <p:cNvPr id="19" name="Grafik 6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9" t="28994" r="2252" b="29081"/>
          <a:stretch/>
        </p:blipFill>
        <p:spPr>
          <a:xfrm>
            <a:off x="309091" y="6392523"/>
            <a:ext cx="877388" cy="270091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rcRect l="2835" t="2835" r="2835" b="2835"/>
          <a:stretch>
            <a:fillRect/>
          </a:stretch>
        </p:blipFill>
        <p:spPr>
          <a:xfrm>
            <a:off x="309092" y="1865056"/>
            <a:ext cx="855168" cy="855164"/>
          </a:xfrm>
          <a:custGeom>
            <a:avLst/>
            <a:gdLst>
              <a:gd name="connsiteX0" fmla="*/ 613855 w 1227710"/>
              <a:gd name="connsiteY0" fmla="*/ 0 h 1227708"/>
              <a:gd name="connsiteX1" fmla="*/ 1227710 w 1227710"/>
              <a:gd name="connsiteY1" fmla="*/ 613854 h 1227708"/>
              <a:gd name="connsiteX2" fmla="*/ 613855 w 1227710"/>
              <a:gd name="connsiteY2" fmla="*/ 1227708 h 1227708"/>
              <a:gd name="connsiteX3" fmla="*/ 0 w 1227710"/>
              <a:gd name="connsiteY3" fmla="*/ 613854 h 1227708"/>
              <a:gd name="connsiteX4" fmla="*/ 613855 w 1227710"/>
              <a:gd name="connsiteY4" fmla="*/ 0 h 1227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7710" h="1227708">
                <a:moveTo>
                  <a:pt x="613855" y="0"/>
                </a:moveTo>
                <a:cubicBezTo>
                  <a:pt x="952878" y="0"/>
                  <a:pt x="1227710" y="274832"/>
                  <a:pt x="1227710" y="613854"/>
                </a:cubicBezTo>
                <a:cubicBezTo>
                  <a:pt x="1227710" y="952876"/>
                  <a:pt x="952878" y="1227708"/>
                  <a:pt x="613855" y="1227708"/>
                </a:cubicBezTo>
                <a:cubicBezTo>
                  <a:pt x="274832" y="1227708"/>
                  <a:pt x="0" y="952876"/>
                  <a:pt x="0" y="613854"/>
                </a:cubicBezTo>
                <a:cubicBezTo>
                  <a:pt x="0" y="274832"/>
                  <a:pt x="274832" y="0"/>
                  <a:pt x="613855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50800" dist="38100" dir="8100000" algn="tr" rotWithShape="0">
              <a:prstClr val="black">
                <a:alpha val="20000"/>
              </a:prstClr>
            </a:outerShdw>
          </a:effectLst>
        </p:spPr>
      </p:pic>
      <p:sp>
        <p:nvSpPr>
          <p:cNvPr id="24" name="Content Placeholder 5"/>
          <p:cNvSpPr>
            <a:spLocks noGrp="1"/>
          </p:cNvSpPr>
          <p:nvPr>
            <p:ph sz="quarter" idx="17"/>
          </p:nvPr>
        </p:nvSpPr>
        <p:spPr>
          <a:xfrm>
            <a:off x="1348686" y="4060435"/>
            <a:ext cx="3973108" cy="1515800"/>
          </a:xfr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John Doe</a:t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Detecon International GmbH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Cluster</a:t>
            </a:r>
          </a:p>
          <a:p>
            <a:r>
              <a:rPr lang="en-US" sz="1200" dirty="0" err="1">
                <a:solidFill>
                  <a:schemeClr val="bg1"/>
                </a:solidFill>
              </a:rPr>
              <a:t>Sternengasse</a:t>
            </a:r>
            <a:r>
              <a:rPr lang="en-US" sz="1200" dirty="0">
                <a:solidFill>
                  <a:schemeClr val="bg1"/>
                </a:solidFill>
              </a:rPr>
              <a:t> 14-16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50676 Cologne (Germany)</a:t>
            </a:r>
            <a:br>
              <a:rPr lang="en-US" sz="1200" dirty="0">
                <a:solidFill>
                  <a:schemeClr val="bg1"/>
                </a:solidFill>
              </a:rPr>
            </a:b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Mobile: +49 xxx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Email: John.Doe@detecon.com</a:t>
            </a: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rcRect l="2835" t="2835" r="2835" b="2835"/>
          <a:stretch>
            <a:fillRect/>
          </a:stretch>
        </p:blipFill>
        <p:spPr>
          <a:xfrm>
            <a:off x="309092" y="4060438"/>
            <a:ext cx="855168" cy="855164"/>
          </a:xfrm>
          <a:custGeom>
            <a:avLst/>
            <a:gdLst>
              <a:gd name="connsiteX0" fmla="*/ 613855 w 1227710"/>
              <a:gd name="connsiteY0" fmla="*/ 0 h 1227708"/>
              <a:gd name="connsiteX1" fmla="*/ 1227710 w 1227710"/>
              <a:gd name="connsiteY1" fmla="*/ 613854 h 1227708"/>
              <a:gd name="connsiteX2" fmla="*/ 613855 w 1227710"/>
              <a:gd name="connsiteY2" fmla="*/ 1227708 h 1227708"/>
              <a:gd name="connsiteX3" fmla="*/ 0 w 1227710"/>
              <a:gd name="connsiteY3" fmla="*/ 613854 h 1227708"/>
              <a:gd name="connsiteX4" fmla="*/ 613855 w 1227710"/>
              <a:gd name="connsiteY4" fmla="*/ 0 h 1227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7710" h="1227708">
                <a:moveTo>
                  <a:pt x="613855" y="0"/>
                </a:moveTo>
                <a:cubicBezTo>
                  <a:pt x="952878" y="0"/>
                  <a:pt x="1227710" y="274832"/>
                  <a:pt x="1227710" y="613854"/>
                </a:cubicBezTo>
                <a:cubicBezTo>
                  <a:pt x="1227710" y="952876"/>
                  <a:pt x="952878" y="1227708"/>
                  <a:pt x="613855" y="1227708"/>
                </a:cubicBezTo>
                <a:cubicBezTo>
                  <a:pt x="274832" y="1227708"/>
                  <a:pt x="0" y="952876"/>
                  <a:pt x="0" y="613854"/>
                </a:cubicBezTo>
                <a:cubicBezTo>
                  <a:pt x="0" y="274832"/>
                  <a:pt x="274832" y="0"/>
                  <a:pt x="613855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50800" dist="38100" dir="8100000" algn="tr" rotWithShape="0">
              <a:prstClr val="black">
                <a:alpha val="20000"/>
              </a:prstClr>
            </a:outerShdw>
          </a:effectLst>
        </p:spPr>
      </p:pic>
      <p:pic>
        <p:nvPicPr>
          <p:cNvPr id="12" name="Picture Placeholder 11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600" r="438"/>
          <a:stretch/>
        </p:blipFill>
        <p:spPr/>
      </p:pic>
    </p:spTree>
    <p:extLst>
      <p:ext uri="{BB962C8B-B14F-4D97-AF65-F5344CB8AC3E}">
        <p14:creationId xmlns:p14="http://schemas.microsoft.com/office/powerpoint/2010/main" val="10801625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2709183"/>
              </p:ext>
            </p:extLst>
          </p:nvPr>
        </p:nvGraphicFramePr>
        <p:xfrm>
          <a:off x="5224" y="1679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3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24" y="1679"/>
                        <a:ext cx="1679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3424F89-B30B-4F57-86A4-863DFB1CCB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47" y="540583"/>
            <a:ext cx="11581528" cy="332399"/>
          </a:xfrm>
        </p:spPr>
        <p:txBody>
          <a:bodyPr vert="horz"/>
          <a:lstStyle/>
          <a:p>
            <a:r>
              <a:rPr lang="en-US" dirty="0"/>
              <a:t>Connection diagram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4ABC00-0BC4-4B98-8C5C-7A0882EC0F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Lab Automation with Ansible</a:t>
            </a:r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BC86519E-6078-48EB-B572-A52CE3BEAF55}"/>
              </a:ext>
            </a:extLst>
          </p:cNvPr>
          <p:cNvSpPr/>
          <p:nvPr/>
        </p:nvSpPr>
        <p:spPr>
          <a:xfrm>
            <a:off x="8079688" y="3079654"/>
            <a:ext cx="1574830" cy="1204920"/>
          </a:xfrm>
          <a:prstGeom prst="cloud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tx1"/>
                </a:solidFill>
              </a:rPr>
              <a:t>Interne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BC8DDC9-50AA-459E-A255-7CC7FA3309C7}"/>
              </a:ext>
            </a:extLst>
          </p:cNvPr>
          <p:cNvSpPr/>
          <p:nvPr/>
        </p:nvSpPr>
        <p:spPr>
          <a:xfrm>
            <a:off x="6417046" y="2359054"/>
            <a:ext cx="904875" cy="45495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/>
              <a:t>Switch</a:t>
            </a:r>
          </a:p>
        </p:txBody>
      </p:sp>
      <p:sp>
        <p:nvSpPr>
          <p:cNvPr id="11" name="Freeform 35">
            <a:extLst>
              <a:ext uri="{FF2B5EF4-FFF2-40B4-BE49-F238E27FC236}">
                <a16:creationId xmlns:a16="http://schemas.microsoft.com/office/drawing/2014/main" id="{C1ACF8F9-ABE2-42EE-96A2-0A3330391238}"/>
              </a:ext>
            </a:extLst>
          </p:cNvPr>
          <p:cNvSpPr>
            <a:spLocks noEditPoints="1"/>
          </p:cNvSpPr>
          <p:nvPr/>
        </p:nvSpPr>
        <p:spPr bwMode="auto">
          <a:xfrm>
            <a:off x="4754816" y="1261996"/>
            <a:ext cx="538928" cy="425622"/>
          </a:xfrm>
          <a:custGeom>
            <a:avLst/>
            <a:gdLst>
              <a:gd name="T0" fmla="*/ 143 w 156"/>
              <a:gd name="T1" fmla="*/ 0 h 123"/>
              <a:gd name="T2" fmla="*/ 12 w 156"/>
              <a:gd name="T3" fmla="*/ 0 h 123"/>
              <a:gd name="T4" fmla="*/ 0 w 156"/>
              <a:gd name="T5" fmla="*/ 12 h 123"/>
              <a:gd name="T6" fmla="*/ 0 w 156"/>
              <a:gd name="T7" fmla="*/ 84 h 123"/>
              <a:gd name="T8" fmla="*/ 0 w 156"/>
              <a:gd name="T9" fmla="*/ 93 h 123"/>
              <a:gd name="T10" fmla="*/ 12 w 156"/>
              <a:gd name="T11" fmla="*/ 105 h 123"/>
              <a:gd name="T12" fmla="*/ 68 w 156"/>
              <a:gd name="T13" fmla="*/ 105 h 123"/>
              <a:gd name="T14" fmla="*/ 68 w 156"/>
              <a:gd name="T15" fmla="*/ 119 h 123"/>
              <a:gd name="T16" fmla="*/ 54 w 156"/>
              <a:gd name="T17" fmla="*/ 119 h 123"/>
              <a:gd name="T18" fmla="*/ 52 w 156"/>
              <a:gd name="T19" fmla="*/ 121 h 123"/>
              <a:gd name="T20" fmla="*/ 54 w 156"/>
              <a:gd name="T21" fmla="*/ 123 h 123"/>
              <a:gd name="T22" fmla="*/ 70 w 156"/>
              <a:gd name="T23" fmla="*/ 123 h 123"/>
              <a:gd name="T24" fmla="*/ 86 w 156"/>
              <a:gd name="T25" fmla="*/ 123 h 123"/>
              <a:gd name="T26" fmla="*/ 102 w 156"/>
              <a:gd name="T27" fmla="*/ 123 h 123"/>
              <a:gd name="T28" fmla="*/ 104 w 156"/>
              <a:gd name="T29" fmla="*/ 121 h 123"/>
              <a:gd name="T30" fmla="*/ 102 w 156"/>
              <a:gd name="T31" fmla="*/ 119 h 123"/>
              <a:gd name="T32" fmla="*/ 88 w 156"/>
              <a:gd name="T33" fmla="*/ 119 h 123"/>
              <a:gd name="T34" fmla="*/ 88 w 156"/>
              <a:gd name="T35" fmla="*/ 105 h 123"/>
              <a:gd name="T36" fmla="*/ 143 w 156"/>
              <a:gd name="T37" fmla="*/ 105 h 123"/>
              <a:gd name="T38" fmla="*/ 156 w 156"/>
              <a:gd name="T39" fmla="*/ 93 h 123"/>
              <a:gd name="T40" fmla="*/ 156 w 156"/>
              <a:gd name="T41" fmla="*/ 84 h 123"/>
              <a:gd name="T42" fmla="*/ 156 w 156"/>
              <a:gd name="T43" fmla="*/ 12 h 123"/>
              <a:gd name="T44" fmla="*/ 143 w 156"/>
              <a:gd name="T45" fmla="*/ 0 h 123"/>
              <a:gd name="T46" fmla="*/ 84 w 156"/>
              <a:gd name="T47" fmla="*/ 119 h 123"/>
              <a:gd name="T48" fmla="*/ 72 w 156"/>
              <a:gd name="T49" fmla="*/ 119 h 123"/>
              <a:gd name="T50" fmla="*/ 72 w 156"/>
              <a:gd name="T51" fmla="*/ 105 h 123"/>
              <a:gd name="T52" fmla="*/ 84 w 156"/>
              <a:gd name="T53" fmla="*/ 105 h 123"/>
              <a:gd name="T54" fmla="*/ 84 w 156"/>
              <a:gd name="T55" fmla="*/ 119 h 123"/>
              <a:gd name="T56" fmla="*/ 152 w 156"/>
              <a:gd name="T57" fmla="*/ 93 h 123"/>
              <a:gd name="T58" fmla="*/ 143 w 156"/>
              <a:gd name="T59" fmla="*/ 101 h 123"/>
              <a:gd name="T60" fmla="*/ 86 w 156"/>
              <a:gd name="T61" fmla="*/ 101 h 123"/>
              <a:gd name="T62" fmla="*/ 70 w 156"/>
              <a:gd name="T63" fmla="*/ 101 h 123"/>
              <a:gd name="T64" fmla="*/ 12 w 156"/>
              <a:gd name="T65" fmla="*/ 101 h 123"/>
              <a:gd name="T66" fmla="*/ 4 w 156"/>
              <a:gd name="T67" fmla="*/ 93 h 123"/>
              <a:gd name="T68" fmla="*/ 4 w 156"/>
              <a:gd name="T69" fmla="*/ 86 h 123"/>
              <a:gd name="T70" fmla="*/ 152 w 156"/>
              <a:gd name="T71" fmla="*/ 86 h 123"/>
              <a:gd name="T72" fmla="*/ 152 w 156"/>
              <a:gd name="T73" fmla="*/ 93 h 123"/>
              <a:gd name="T74" fmla="*/ 152 w 156"/>
              <a:gd name="T75" fmla="*/ 82 h 123"/>
              <a:gd name="T76" fmla="*/ 4 w 156"/>
              <a:gd name="T77" fmla="*/ 82 h 123"/>
              <a:gd name="T78" fmla="*/ 4 w 156"/>
              <a:gd name="T79" fmla="*/ 12 h 123"/>
              <a:gd name="T80" fmla="*/ 12 w 156"/>
              <a:gd name="T81" fmla="*/ 4 h 123"/>
              <a:gd name="T82" fmla="*/ 143 w 156"/>
              <a:gd name="T83" fmla="*/ 4 h 123"/>
              <a:gd name="T84" fmla="*/ 152 w 156"/>
              <a:gd name="T85" fmla="*/ 12 h 123"/>
              <a:gd name="T86" fmla="*/ 152 w 156"/>
              <a:gd name="T87" fmla="*/ 82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6" h="123">
                <a:moveTo>
                  <a:pt x="143" y="0"/>
                </a:moveTo>
                <a:cubicBezTo>
                  <a:pt x="12" y="0"/>
                  <a:pt x="12" y="0"/>
                  <a:pt x="12" y="0"/>
                </a:cubicBezTo>
                <a:cubicBezTo>
                  <a:pt x="6" y="0"/>
                  <a:pt x="0" y="6"/>
                  <a:pt x="0" y="12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93"/>
                  <a:pt x="0" y="93"/>
                  <a:pt x="0" y="93"/>
                </a:cubicBezTo>
                <a:cubicBezTo>
                  <a:pt x="0" y="100"/>
                  <a:pt x="6" y="105"/>
                  <a:pt x="12" y="105"/>
                </a:cubicBezTo>
                <a:cubicBezTo>
                  <a:pt x="68" y="105"/>
                  <a:pt x="68" y="105"/>
                  <a:pt x="68" y="105"/>
                </a:cubicBezTo>
                <a:cubicBezTo>
                  <a:pt x="68" y="119"/>
                  <a:pt x="68" y="119"/>
                  <a:pt x="68" y="119"/>
                </a:cubicBezTo>
                <a:cubicBezTo>
                  <a:pt x="54" y="119"/>
                  <a:pt x="54" y="119"/>
                  <a:pt x="54" y="119"/>
                </a:cubicBezTo>
                <a:cubicBezTo>
                  <a:pt x="53" y="119"/>
                  <a:pt x="52" y="120"/>
                  <a:pt x="52" y="121"/>
                </a:cubicBezTo>
                <a:cubicBezTo>
                  <a:pt x="52" y="122"/>
                  <a:pt x="53" y="123"/>
                  <a:pt x="54" y="123"/>
                </a:cubicBezTo>
                <a:cubicBezTo>
                  <a:pt x="70" y="123"/>
                  <a:pt x="70" y="123"/>
                  <a:pt x="70" y="123"/>
                </a:cubicBezTo>
                <a:cubicBezTo>
                  <a:pt x="86" y="123"/>
                  <a:pt x="86" y="123"/>
                  <a:pt x="86" y="123"/>
                </a:cubicBezTo>
                <a:cubicBezTo>
                  <a:pt x="102" y="123"/>
                  <a:pt x="102" y="123"/>
                  <a:pt x="102" y="123"/>
                </a:cubicBezTo>
                <a:cubicBezTo>
                  <a:pt x="103" y="123"/>
                  <a:pt x="104" y="122"/>
                  <a:pt x="104" y="121"/>
                </a:cubicBezTo>
                <a:cubicBezTo>
                  <a:pt x="104" y="120"/>
                  <a:pt x="103" y="119"/>
                  <a:pt x="102" y="119"/>
                </a:cubicBezTo>
                <a:cubicBezTo>
                  <a:pt x="88" y="119"/>
                  <a:pt x="88" y="119"/>
                  <a:pt x="88" y="119"/>
                </a:cubicBezTo>
                <a:cubicBezTo>
                  <a:pt x="88" y="105"/>
                  <a:pt x="88" y="105"/>
                  <a:pt x="88" y="105"/>
                </a:cubicBezTo>
                <a:cubicBezTo>
                  <a:pt x="143" y="105"/>
                  <a:pt x="143" y="105"/>
                  <a:pt x="143" y="105"/>
                </a:cubicBezTo>
                <a:cubicBezTo>
                  <a:pt x="150" y="105"/>
                  <a:pt x="156" y="100"/>
                  <a:pt x="156" y="93"/>
                </a:cubicBezTo>
                <a:cubicBezTo>
                  <a:pt x="156" y="84"/>
                  <a:pt x="156" y="84"/>
                  <a:pt x="156" y="84"/>
                </a:cubicBezTo>
                <a:cubicBezTo>
                  <a:pt x="156" y="12"/>
                  <a:pt x="156" y="12"/>
                  <a:pt x="156" y="12"/>
                </a:cubicBezTo>
                <a:cubicBezTo>
                  <a:pt x="156" y="6"/>
                  <a:pt x="150" y="0"/>
                  <a:pt x="143" y="0"/>
                </a:cubicBezTo>
                <a:close/>
                <a:moveTo>
                  <a:pt x="84" y="119"/>
                </a:moveTo>
                <a:cubicBezTo>
                  <a:pt x="72" y="119"/>
                  <a:pt x="72" y="119"/>
                  <a:pt x="72" y="119"/>
                </a:cubicBezTo>
                <a:cubicBezTo>
                  <a:pt x="72" y="105"/>
                  <a:pt x="72" y="105"/>
                  <a:pt x="72" y="105"/>
                </a:cubicBezTo>
                <a:cubicBezTo>
                  <a:pt x="84" y="105"/>
                  <a:pt x="84" y="105"/>
                  <a:pt x="84" y="105"/>
                </a:cubicBezTo>
                <a:lnTo>
                  <a:pt x="84" y="119"/>
                </a:lnTo>
                <a:close/>
                <a:moveTo>
                  <a:pt x="152" y="93"/>
                </a:moveTo>
                <a:cubicBezTo>
                  <a:pt x="152" y="98"/>
                  <a:pt x="148" y="101"/>
                  <a:pt x="143" y="101"/>
                </a:cubicBezTo>
                <a:cubicBezTo>
                  <a:pt x="86" y="101"/>
                  <a:pt x="86" y="101"/>
                  <a:pt x="86" y="101"/>
                </a:cubicBezTo>
                <a:cubicBezTo>
                  <a:pt x="70" y="101"/>
                  <a:pt x="70" y="101"/>
                  <a:pt x="70" y="101"/>
                </a:cubicBezTo>
                <a:cubicBezTo>
                  <a:pt x="12" y="101"/>
                  <a:pt x="12" y="101"/>
                  <a:pt x="12" y="101"/>
                </a:cubicBezTo>
                <a:cubicBezTo>
                  <a:pt x="8" y="101"/>
                  <a:pt x="4" y="98"/>
                  <a:pt x="4" y="93"/>
                </a:cubicBezTo>
                <a:cubicBezTo>
                  <a:pt x="4" y="86"/>
                  <a:pt x="4" y="86"/>
                  <a:pt x="4" y="86"/>
                </a:cubicBezTo>
                <a:cubicBezTo>
                  <a:pt x="152" y="86"/>
                  <a:pt x="152" y="86"/>
                  <a:pt x="152" y="86"/>
                </a:cubicBezTo>
                <a:lnTo>
                  <a:pt x="152" y="93"/>
                </a:lnTo>
                <a:close/>
                <a:moveTo>
                  <a:pt x="152" y="82"/>
                </a:moveTo>
                <a:cubicBezTo>
                  <a:pt x="4" y="82"/>
                  <a:pt x="4" y="82"/>
                  <a:pt x="4" y="82"/>
                </a:cubicBezTo>
                <a:cubicBezTo>
                  <a:pt x="4" y="12"/>
                  <a:pt x="4" y="12"/>
                  <a:pt x="4" y="12"/>
                </a:cubicBezTo>
                <a:cubicBezTo>
                  <a:pt x="4" y="8"/>
                  <a:pt x="8" y="4"/>
                  <a:pt x="12" y="4"/>
                </a:cubicBezTo>
                <a:cubicBezTo>
                  <a:pt x="143" y="4"/>
                  <a:pt x="143" y="4"/>
                  <a:pt x="143" y="4"/>
                </a:cubicBezTo>
                <a:cubicBezTo>
                  <a:pt x="148" y="4"/>
                  <a:pt x="152" y="8"/>
                  <a:pt x="152" y="12"/>
                </a:cubicBezTo>
                <a:lnTo>
                  <a:pt x="152" y="82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2" name="TextBox 7">
            <a:extLst>
              <a:ext uri="{FF2B5EF4-FFF2-40B4-BE49-F238E27FC236}">
                <a16:creationId xmlns:a16="http://schemas.microsoft.com/office/drawing/2014/main" id="{834819AF-B066-4151-96DB-126E761775C9}"/>
              </a:ext>
            </a:extLst>
          </p:cNvPr>
          <p:cNvSpPr txBox="1"/>
          <p:nvPr/>
        </p:nvSpPr>
        <p:spPr>
          <a:xfrm>
            <a:off x="4115217" y="854340"/>
            <a:ext cx="1880926" cy="369332"/>
          </a:xfrm>
          <a:prstGeom prst="rect">
            <a:avLst/>
          </a:prstGeom>
          <a:noFill/>
          <a:ln w="3175"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VM1 – Open5gs</a:t>
            </a:r>
          </a:p>
        </p:txBody>
      </p:sp>
      <p:sp>
        <p:nvSpPr>
          <p:cNvPr id="14" name="Freeform 35">
            <a:extLst>
              <a:ext uri="{FF2B5EF4-FFF2-40B4-BE49-F238E27FC236}">
                <a16:creationId xmlns:a16="http://schemas.microsoft.com/office/drawing/2014/main" id="{984F42E7-212B-45A5-AD24-9FE86DA65C2F}"/>
              </a:ext>
            </a:extLst>
          </p:cNvPr>
          <p:cNvSpPr>
            <a:spLocks noEditPoints="1"/>
          </p:cNvSpPr>
          <p:nvPr/>
        </p:nvSpPr>
        <p:spPr bwMode="auto">
          <a:xfrm>
            <a:off x="4754816" y="3755143"/>
            <a:ext cx="538928" cy="425622"/>
          </a:xfrm>
          <a:custGeom>
            <a:avLst/>
            <a:gdLst>
              <a:gd name="T0" fmla="*/ 143 w 156"/>
              <a:gd name="T1" fmla="*/ 0 h 123"/>
              <a:gd name="T2" fmla="*/ 12 w 156"/>
              <a:gd name="T3" fmla="*/ 0 h 123"/>
              <a:gd name="T4" fmla="*/ 0 w 156"/>
              <a:gd name="T5" fmla="*/ 12 h 123"/>
              <a:gd name="T6" fmla="*/ 0 w 156"/>
              <a:gd name="T7" fmla="*/ 84 h 123"/>
              <a:gd name="T8" fmla="*/ 0 w 156"/>
              <a:gd name="T9" fmla="*/ 93 h 123"/>
              <a:gd name="T10" fmla="*/ 12 w 156"/>
              <a:gd name="T11" fmla="*/ 105 h 123"/>
              <a:gd name="T12" fmla="*/ 68 w 156"/>
              <a:gd name="T13" fmla="*/ 105 h 123"/>
              <a:gd name="T14" fmla="*/ 68 w 156"/>
              <a:gd name="T15" fmla="*/ 119 h 123"/>
              <a:gd name="T16" fmla="*/ 54 w 156"/>
              <a:gd name="T17" fmla="*/ 119 h 123"/>
              <a:gd name="T18" fmla="*/ 52 w 156"/>
              <a:gd name="T19" fmla="*/ 121 h 123"/>
              <a:gd name="T20" fmla="*/ 54 w 156"/>
              <a:gd name="T21" fmla="*/ 123 h 123"/>
              <a:gd name="T22" fmla="*/ 70 w 156"/>
              <a:gd name="T23" fmla="*/ 123 h 123"/>
              <a:gd name="T24" fmla="*/ 86 w 156"/>
              <a:gd name="T25" fmla="*/ 123 h 123"/>
              <a:gd name="T26" fmla="*/ 102 w 156"/>
              <a:gd name="T27" fmla="*/ 123 h 123"/>
              <a:gd name="T28" fmla="*/ 104 w 156"/>
              <a:gd name="T29" fmla="*/ 121 h 123"/>
              <a:gd name="T30" fmla="*/ 102 w 156"/>
              <a:gd name="T31" fmla="*/ 119 h 123"/>
              <a:gd name="T32" fmla="*/ 88 w 156"/>
              <a:gd name="T33" fmla="*/ 119 h 123"/>
              <a:gd name="T34" fmla="*/ 88 w 156"/>
              <a:gd name="T35" fmla="*/ 105 h 123"/>
              <a:gd name="T36" fmla="*/ 143 w 156"/>
              <a:gd name="T37" fmla="*/ 105 h 123"/>
              <a:gd name="T38" fmla="*/ 156 w 156"/>
              <a:gd name="T39" fmla="*/ 93 h 123"/>
              <a:gd name="T40" fmla="*/ 156 w 156"/>
              <a:gd name="T41" fmla="*/ 84 h 123"/>
              <a:gd name="T42" fmla="*/ 156 w 156"/>
              <a:gd name="T43" fmla="*/ 12 h 123"/>
              <a:gd name="T44" fmla="*/ 143 w 156"/>
              <a:gd name="T45" fmla="*/ 0 h 123"/>
              <a:gd name="T46" fmla="*/ 84 w 156"/>
              <a:gd name="T47" fmla="*/ 119 h 123"/>
              <a:gd name="T48" fmla="*/ 72 w 156"/>
              <a:gd name="T49" fmla="*/ 119 h 123"/>
              <a:gd name="T50" fmla="*/ 72 w 156"/>
              <a:gd name="T51" fmla="*/ 105 h 123"/>
              <a:gd name="T52" fmla="*/ 84 w 156"/>
              <a:gd name="T53" fmla="*/ 105 h 123"/>
              <a:gd name="T54" fmla="*/ 84 w 156"/>
              <a:gd name="T55" fmla="*/ 119 h 123"/>
              <a:gd name="T56" fmla="*/ 152 w 156"/>
              <a:gd name="T57" fmla="*/ 93 h 123"/>
              <a:gd name="T58" fmla="*/ 143 w 156"/>
              <a:gd name="T59" fmla="*/ 101 h 123"/>
              <a:gd name="T60" fmla="*/ 86 w 156"/>
              <a:gd name="T61" fmla="*/ 101 h 123"/>
              <a:gd name="T62" fmla="*/ 70 w 156"/>
              <a:gd name="T63" fmla="*/ 101 h 123"/>
              <a:gd name="T64" fmla="*/ 12 w 156"/>
              <a:gd name="T65" fmla="*/ 101 h 123"/>
              <a:gd name="T66" fmla="*/ 4 w 156"/>
              <a:gd name="T67" fmla="*/ 93 h 123"/>
              <a:gd name="T68" fmla="*/ 4 w 156"/>
              <a:gd name="T69" fmla="*/ 86 h 123"/>
              <a:gd name="T70" fmla="*/ 152 w 156"/>
              <a:gd name="T71" fmla="*/ 86 h 123"/>
              <a:gd name="T72" fmla="*/ 152 w 156"/>
              <a:gd name="T73" fmla="*/ 93 h 123"/>
              <a:gd name="T74" fmla="*/ 152 w 156"/>
              <a:gd name="T75" fmla="*/ 82 h 123"/>
              <a:gd name="T76" fmla="*/ 4 w 156"/>
              <a:gd name="T77" fmla="*/ 82 h 123"/>
              <a:gd name="T78" fmla="*/ 4 w 156"/>
              <a:gd name="T79" fmla="*/ 12 h 123"/>
              <a:gd name="T80" fmla="*/ 12 w 156"/>
              <a:gd name="T81" fmla="*/ 4 h 123"/>
              <a:gd name="T82" fmla="*/ 143 w 156"/>
              <a:gd name="T83" fmla="*/ 4 h 123"/>
              <a:gd name="T84" fmla="*/ 152 w 156"/>
              <a:gd name="T85" fmla="*/ 12 h 123"/>
              <a:gd name="T86" fmla="*/ 152 w 156"/>
              <a:gd name="T87" fmla="*/ 82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6" h="123">
                <a:moveTo>
                  <a:pt x="143" y="0"/>
                </a:moveTo>
                <a:cubicBezTo>
                  <a:pt x="12" y="0"/>
                  <a:pt x="12" y="0"/>
                  <a:pt x="12" y="0"/>
                </a:cubicBezTo>
                <a:cubicBezTo>
                  <a:pt x="6" y="0"/>
                  <a:pt x="0" y="6"/>
                  <a:pt x="0" y="12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93"/>
                  <a:pt x="0" y="93"/>
                  <a:pt x="0" y="93"/>
                </a:cubicBezTo>
                <a:cubicBezTo>
                  <a:pt x="0" y="100"/>
                  <a:pt x="6" y="105"/>
                  <a:pt x="12" y="105"/>
                </a:cubicBezTo>
                <a:cubicBezTo>
                  <a:pt x="68" y="105"/>
                  <a:pt x="68" y="105"/>
                  <a:pt x="68" y="105"/>
                </a:cubicBezTo>
                <a:cubicBezTo>
                  <a:pt x="68" y="119"/>
                  <a:pt x="68" y="119"/>
                  <a:pt x="68" y="119"/>
                </a:cubicBezTo>
                <a:cubicBezTo>
                  <a:pt x="54" y="119"/>
                  <a:pt x="54" y="119"/>
                  <a:pt x="54" y="119"/>
                </a:cubicBezTo>
                <a:cubicBezTo>
                  <a:pt x="53" y="119"/>
                  <a:pt x="52" y="120"/>
                  <a:pt x="52" y="121"/>
                </a:cubicBezTo>
                <a:cubicBezTo>
                  <a:pt x="52" y="122"/>
                  <a:pt x="53" y="123"/>
                  <a:pt x="54" y="123"/>
                </a:cubicBezTo>
                <a:cubicBezTo>
                  <a:pt x="70" y="123"/>
                  <a:pt x="70" y="123"/>
                  <a:pt x="70" y="123"/>
                </a:cubicBezTo>
                <a:cubicBezTo>
                  <a:pt x="86" y="123"/>
                  <a:pt x="86" y="123"/>
                  <a:pt x="86" y="123"/>
                </a:cubicBezTo>
                <a:cubicBezTo>
                  <a:pt x="102" y="123"/>
                  <a:pt x="102" y="123"/>
                  <a:pt x="102" y="123"/>
                </a:cubicBezTo>
                <a:cubicBezTo>
                  <a:pt x="103" y="123"/>
                  <a:pt x="104" y="122"/>
                  <a:pt x="104" y="121"/>
                </a:cubicBezTo>
                <a:cubicBezTo>
                  <a:pt x="104" y="120"/>
                  <a:pt x="103" y="119"/>
                  <a:pt x="102" y="119"/>
                </a:cubicBezTo>
                <a:cubicBezTo>
                  <a:pt x="88" y="119"/>
                  <a:pt x="88" y="119"/>
                  <a:pt x="88" y="119"/>
                </a:cubicBezTo>
                <a:cubicBezTo>
                  <a:pt x="88" y="105"/>
                  <a:pt x="88" y="105"/>
                  <a:pt x="88" y="105"/>
                </a:cubicBezTo>
                <a:cubicBezTo>
                  <a:pt x="143" y="105"/>
                  <a:pt x="143" y="105"/>
                  <a:pt x="143" y="105"/>
                </a:cubicBezTo>
                <a:cubicBezTo>
                  <a:pt x="150" y="105"/>
                  <a:pt x="156" y="100"/>
                  <a:pt x="156" y="93"/>
                </a:cubicBezTo>
                <a:cubicBezTo>
                  <a:pt x="156" y="84"/>
                  <a:pt x="156" y="84"/>
                  <a:pt x="156" y="84"/>
                </a:cubicBezTo>
                <a:cubicBezTo>
                  <a:pt x="156" y="12"/>
                  <a:pt x="156" y="12"/>
                  <a:pt x="156" y="12"/>
                </a:cubicBezTo>
                <a:cubicBezTo>
                  <a:pt x="156" y="6"/>
                  <a:pt x="150" y="0"/>
                  <a:pt x="143" y="0"/>
                </a:cubicBezTo>
                <a:close/>
                <a:moveTo>
                  <a:pt x="84" y="119"/>
                </a:moveTo>
                <a:cubicBezTo>
                  <a:pt x="72" y="119"/>
                  <a:pt x="72" y="119"/>
                  <a:pt x="72" y="119"/>
                </a:cubicBezTo>
                <a:cubicBezTo>
                  <a:pt x="72" y="105"/>
                  <a:pt x="72" y="105"/>
                  <a:pt x="72" y="105"/>
                </a:cubicBezTo>
                <a:cubicBezTo>
                  <a:pt x="84" y="105"/>
                  <a:pt x="84" y="105"/>
                  <a:pt x="84" y="105"/>
                </a:cubicBezTo>
                <a:lnTo>
                  <a:pt x="84" y="119"/>
                </a:lnTo>
                <a:close/>
                <a:moveTo>
                  <a:pt x="152" y="93"/>
                </a:moveTo>
                <a:cubicBezTo>
                  <a:pt x="152" y="98"/>
                  <a:pt x="148" y="101"/>
                  <a:pt x="143" y="101"/>
                </a:cubicBezTo>
                <a:cubicBezTo>
                  <a:pt x="86" y="101"/>
                  <a:pt x="86" y="101"/>
                  <a:pt x="86" y="101"/>
                </a:cubicBezTo>
                <a:cubicBezTo>
                  <a:pt x="70" y="101"/>
                  <a:pt x="70" y="101"/>
                  <a:pt x="70" y="101"/>
                </a:cubicBezTo>
                <a:cubicBezTo>
                  <a:pt x="12" y="101"/>
                  <a:pt x="12" y="101"/>
                  <a:pt x="12" y="101"/>
                </a:cubicBezTo>
                <a:cubicBezTo>
                  <a:pt x="8" y="101"/>
                  <a:pt x="4" y="98"/>
                  <a:pt x="4" y="93"/>
                </a:cubicBezTo>
                <a:cubicBezTo>
                  <a:pt x="4" y="86"/>
                  <a:pt x="4" y="86"/>
                  <a:pt x="4" y="86"/>
                </a:cubicBezTo>
                <a:cubicBezTo>
                  <a:pt x="152" y="86"/>
                  <a:pt x="152" y="86"/>
                  <a:pt x="152" y="86"/>
                </a:cubicBezTo>
                <a:lnTo>
                  <a:pt x="152" y="93"/>
                </a:lnTo>
                <a:close/>
                <a:moveTo>
                  <a:pt x="152" y="82"/>
                </a:moveTo>
                <a:cubicBezTo>
                  <a:pt x="4" y="82"/>
                  <a:pt x="4" y="82"/>
                  <a:pt x="4" y="82"/>
                </a:cubicBezTo>
                <a:cubicBezTo>
                  <a:pt x="4" y="12"/>
                  <a:pt x="4" y="12"/>
                  <a:pt x="4" y="12"/>
                </a:cubicBezTo>
                <a:cubicBezTo>
                  <a:pt x="4" y="8"/>
                  <a:pt x="8" y="4"/>
                  <a:pt x="12" y="4"/>
                </a:cubicBezTo>
                <a:cubicBezTo>
                  <a:pt x="143" y="4"/>
                  <a:pt x="143" y="4"/>
                  <a:pt x="143" y="4"/>
                </a:cubicBezTo>
                <a:cubicBezTo>
                  <a:pt x="148" y="4"/>
                  <a:pt x="152" y="8"/>
                  <a:pt x="152" y="12"/>
                </a:cubicBezTo>
                <a:lnTo>
                  <a:pt x="152" y="82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77B5B891-7E34-48D6-926C-FBFE299E62E8}"/>
              </a:ext>
            </a:extLst>
          </p:cNvPr>
          <p:cNvSpPr txBox="1"/>
          <p:nvPr/>
        </p:nvSpPr>
        <p:spPr>
          <a:xfrm>
            <a:off x="4184947" y="3347408"/>
            <a:ext cx="1748579" cy="369332"/>
          </a:xfrm>
          <a:prstGeom prst="rect">
            <a:avLst/>
          </a:prstGeom>
          <a:noFill/>
          <a:ln w="3175"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VM3 – Ansible</a:t>
            </a:r>
          </a:p>
        </p:txBody>
      </p:sp>
      <p:sp>
        <p:nvSpPr>
          <p:cNvPr id="16" name="Freeform 35">
            <a:extLst>
              <a:ext uri="{FF2B5EF4-FFF2-40B4-BE49-F238E27FC236}">
                <a16:creationId xmlns:a16="http://schemas.microsoft.com/office/drawing/2014/main" id="{4A265B70-5360-4072-A848-282E344A0FD1}"/>
              </a:ext>
            </a:extLst>
          </p:cNvPr>
          <p:cNvSpPr>
            <a:spLocks noEditPoints="1"/>
          </p:cNvSpPr>
          <p:nvPr/>
        </p:nvSpPr>
        <p:spPr bwMode="auto">
          <a:xfrm>
            <a:off x="8361615" y="1261996"/>
            <a:ext cx="538928" cy="425622"/>
          </a:xfrm>
          <a:custGeom>
            <a:avLst/>
            <a:gdLst>
              <a:gd name="T0" fmla="*/ 143 w 156"/>
              <a:gd name="T1" fmla="*/ 0 h 123"/>
              <a:gd name="T2" fmla="*/ 12 w 156"/>
              <a:gd name="T3" fmla="*/ 0 h 123"/>
              <a:gd name="T4" fmla="*/ 0 w 156"/>
              <a:gd name="T5" fmla="*/ 12 h 123"/>
              <a:gd name="T6" fmla="*/ 0 w 156"/>
              <a:gd name="T7" fmla="*/ 84 h 123"/>
              <a:gd name="T8" fmla="*/ 0 w 156"/>
              <a:gd name="T9" fmla="*/ 93 h 123"/>
              <a:gd name="T10" fmla="*/ 12 w 156"/>
              <a:gd name="T11" fmla="*/ 105 h 123"/>
              <a:gd name="T12" fmla="*/ 68 w 156"/>
              <a:gd name="T13" fmla="*/ 105 h 123"/>
              <a:gd name="T14" fmla="*/ 68 w 156"/>
              <a:gd name="T15" fmla="*/ 119 h 123"/>
              <a:gd name="T16" fmla="*/ 54 w 156"/>
              <a:gd name="T17" fmla="*/ 119 h 123"/>
              <a:gd name="T18" fmla="*/ 52 w 156"/>
              <a:gd name="T19" fmla="*/ 121 h 123"/>
              <a:gd name="T20" fmla="*/ 54 w 156"/>
              <a:gd name="T21" fmla="*/ 123 h 123"/>
              <a:gd name="T22" fmla="*/ 70 w 156"/>
              <a:gd name="T23" fmla="*/ 123 h 123"/>
              <a:gd name="T24" fmla="*/ 86 w 156"/>
              <a:gd name="T25" fmla="*/ 123 h 123"/>
              <a:gd name="T26" fmla="*/ 102 w 156"/>
              <a:gd name="T27" fmla="*/ 123 h 123"/>
              <a:gd name="T28" fmla="*/ 104 w 156"/>
              <a:gd name="T29" fmla="*/ 121 h 123"/>
              <a:gd name="T30" fmla="*/ 102 w 156"/>
              <a:gd name="T31" fmla="*/ 119 h 123"/>
              <a:gd name="T32" fmla="*/ 88 w 156"/>
              <a:gd name="T33" fmla="*/ 119 h 123"/>
              <a:gd name="T34" fmla="*/ 88 w 156"/>
              <a:gd name="T35" fmla="*/ 105 h 123"/>
              <a:gd name="T36" fmla="*/ 143 w 156"/>
              <a:gd name="T37" fmla="*/ 105 h 123"/>
              <a:gd name="T38" fmla="*/ 156 w 156"/>
              <a:gd name="T39" fmla="*/ 93 h 123"/>
              <a:gd name="T40" fmla="*/ 156 w 156"/>
              <a:gd name="T41" fmla="*/ 84 h 123"/>
              <a:gd name="T42" fmla="*/ 156 w 156"/>
              <a:gd name="T43" fmla="*/ 12 h 123"/>
              <a:gd name="T44" fmla="*/ 143 w 156"/>
              <a:gd name="T45" fmla="*/ 0 h 123"/>
              <a:gd name="T46" fmla="*/ 84 w 156"/>
              <a:gd name="T47" fmla="*/ 119 h 123"/>
              <a:gd name="T48" fmla="*/ 72 w 156"/>
              <a:gd name="T49" fmla="*/ 119 h 123"/>
              <a:gd name="T50" fmla="*/ 72 w 156"/>
              <a:gd name="T51" fmla="*/ 105 h 123"/>
              <a:gd name="T52" fmla="*/ 84 w 156"/>
              <a:gd name="T53" fmla="*/ 105 h 123"/>
              <a:gd name="T54" fmla="*/ 84 w 156"/>
              <a:gd name="T55" fmla="*/ 119 h 123"/>
              <a:gd name="T56" fmla="*/ 152 w 156"/>
              <a:gd name="T57" fmla="*/ 93 h 123"/>
              <a:gd name="T58" fmla="*/ 143 w 156"/>
              <a:gd name="T59" fmla="*/ 101 h 123"/>
              <a:gd name="T60" fmla="*/ 86 w 156"/>
              <a:gd name="T61" fmla="*/ 101 h 123"/>
              <a:gd name="T62" fmla="*/ 70 w 156"/>
              <a:gd name="T63" fmla="*/ 101 h 123"/>
              <a:gd name="T64" fmla="*/ 12 w 156"/>
              <a:gd name="T65" fmla="*/ 101 h 123"/>
              <a:gd name="T66" fmla="*/ 4 w 156"/>
              <a:gd name="T67" fmla="*/ 93 h 123"/>
              <a:gd name="T68" fmla="*/ 4 w 156"/>
              <a:gd name="T69" fmla="*/ 86 h 123"/>
              <a:gd name="T70" fmla="*/ 152 w 156"/>
              <a:gd name="T71" fmla="*/ 86 h 123"/>
              <a:gd name="T72" fmla="*/ 152 w 156"/>
              <a:gd name="T73" fmla="*/ 93 h 123"/>
              <a:gd name="T74" fmla="*/ 152 w 156"/>
              <a:gd name="T75" fmla="*/ 82 h 123"/>
              <a:gd name="T76" fmla="*/ 4 w 156"/>
              <a:gd name="T77" fmla="*/ 82 h 123"/>
              <a:gd name="T78" fmla="*/ 4 w 156"/>
              <a:gd name="T79" fmla="*/ 12 h 123"/>
              <a:gd name="T80" fmla="*/ 12 w 156"/>
              <a:gd name="T81" fmla="*/ 4 h 123"/>
              <a:gd name="T82" fmla="*/ 143 w 156"/>
              <a:gd name="T83" fmla="*/ 4 h 123"/>
              <a:gd name="T84" fmla="*/ 152 w 156"/>
              <a:gd name="T85" fmla="*/ 12 h 123"/>
              <a:gd name="T86" fmla="*/ 152 w 156"/>
              <a:gd name="T87" fmla="*/ 82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6" h="123">
                <a:moveTo>
                  <a:pt x="143" y="0"/>
                </a:moveTo>
                <a:cubicBezTo>
                  <a:pt x="12" y="0"/>
                  <a:pt x="12" y="0"/>
                  <a:pt x="12" y="0"/>
                </a:cubicBezTo>
                <a:cubicBezTo>
                  <a:pt x="6" y="0"/>
                  <a:pt x="0" y="6"/>
                  <a:pt x="0" y="12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93"/>
                  <a:pt x="0" y="93"/>
                  <a:pt x="0" y="93"/>
                </a:cubicBezTo>
                <a:cubicBezTo>
                  <a:pt x="0" y="100"/>
                  <a:pt x="6" y="105"/>
                  <a:pt x="12" y="105"/>
                </a:cubicBezTo>
                <a:cubicBezTo>
                  <a:pt x="68" y="105"/>
                  <a:pt x="68" y="105"/>
                  <a:pt x="68" y="105"/>
                </a:cubicBezTo>
                <a:cubicBezTo>
                  <a:pt x="68" y="119"/>
                  <a:pt x="68" y="119"/>
                  <a:pt x="68" y="119"/>
                </a:cubicBezTo>
                <a:cubicBezTo>
                  <a:pt x="54" y="119"/>
                  <a:pt x="54" y="119"/>
                  <a:pt x="54" y="119"/>
                </a:cubicBezTo>
                <a:cubicBezTo>
                  <a:pt x="53" y="119"/>
                  <a:pt x="52" y="120"/>
                  <a:pt x="52" y="121"/>
                </a:cubicBezTo>
                <a:cubicBezTo>
                  <a:pt x="52" y="122"/>
                  <a:pt x="53" y="123"/>
                  <a:pt x="54" y="123"/>
                </a:cubicBezTo>
                <a:cubicBezTo>
                  <a:pt x="70" y="123"/>
                  <a:pt x="70" y="123"/>
                  <a:pt x="70" y="123"/>
                </a:cubicBezTo>
                <a:cubicBezTo>
                  <a:pt x="86" y="123"/>
                  <a:pt x="86" y="123"/>
                  <a:pt x="86" y="123"/>
                </a:cubicBezTo>
                <a:cubicBezTo>
                  <a:pt x="102" y="123"/>
                  <a:pt x="102" y="123"/>
                  <a:pt x="102" y="123"/>
                </a:cubicBezTo>
                <a:cubicBezTo>
                  <a:pt x="103" y="123"/>
                  <a:pt x="104" y="122"/>
                  <a:pt x="104" y="121"/>
                </a:cubicBezTo>
                <a:cubicBezTo>
                  <a:pt x="104" y="120"/>
                  <a:pt x="103" y="119"/>
                  <a:pt x="102" y="119"/>
                </a:cubicBezTo>
                <a:cubicBezTo>
                  <a:pt x="88" y="119"/>
                  <a:pt x="88" y="119"/>
                  <a:pt x="88" y="119"/>
                </a:cubicBezTo>
                <a:cubicBezTo>
                  <a:pt x="88" y="105"/>
                  <a:pt x="88" y="105"/>
                  <a:pt x="88" y="105"/>
                </a:cubicBezTo>
                <a:cubicBezTo>
                  <a:pt x="143" y="105"/>
                  <a:pt x="143" y="105"/>
                  <a:pt x="143" y="105"/>
                </a:cubicBezTo>
                <a:cubicBezTo>
                  <a:pt x="150" y="105"/>
                  <a:pt x="156" y="100"/>
                  <a:pt x="156" y="93"/>
                </a:cubicBezTo>
                <a:cubicBezTo>
                  <a:pt x="156" y="84"/>
                  <a:pt x="156" y="84"/>
                  <a:pt x="156" y="84"/>
                </a:cubicBezTo>
                <a:cubicBezTo>
                  <a:pt x="156" y="12"/>
                  <a:pt x="156" y="12"/>
                  <a:pt x="156" y="12"/>
                </a:cubicBezTo>
                <a:cubicBezTo>
                  <a:pt x="156" y="6"/>
                  <a:pt x="150" y="0"/>
                  <a:pt x="143" y="0"/>
                </a:cubicBezTo>
                <a:close/>
                <a:moveTo>
                  <a:pt x="84" y="119"/>
                </a:moveTo>
                <a:cubicBezTo>
                  <a:pt x="72" y="119"/>
                  <a:pt x="72" y="119"/>
                  <a:pt x="72" y="119"/>
                </a:cubicBezTo>
                <a:cubicBezTo>
                  <a:pt x="72" y="105"/>
                  <a:pt x="72" y="105"/>
                  <a:pt x="72" y="105"/>
                </a:cubicBezTo>
                <a:cubicBezTo>
                  <a:pt x="84" y="105"/>
                  <a:pt x="84" y="105"/>
                  <a:pt x="84" y="105"/>
                </a:cubicBezTo>
                <a:lnTo>
                  <a:pt x="84" y="119"/>
                </a:lnTo>
                <a:close/>
                <a:moveTo>
                  <a:pt x="152" y="93"/>
                </a:moveTo>
                <a:cubicBezTo>
                  <a:pt x="152" y="98"/>
                  <a:pt x="148" y="101"/>
                  <a:pt x="143" y="101"/>
                </a:cubicBezTo>
                <a:cubicBezTo>
                  <a:pt x="86" y="101"/>
                  <a:pt x="86" y="101"/>
                  <a:pt x="86" y="101"/>
                </a:cubicBezTo>
                <a:cubicBezTo>
                  <a:pt x="70" y="101"/>
                  <a:pt x="70" y="101"/>
                  <a:pt x="70" y="101"/>
                </a:cubicBezTo>
                <a:cubicBezTo>
                  <a:pt x="12" y="101"/>
                  <a:pt x="12" y="101"/>
                  <a:pt x="12" y="101"/>
                </a:cubicBezTo>
                <a:cubicBezTo>
                  <a:pt x="8" y="101"/>
                  <a:pt x="4" y="98"/>
                  <a:pt x="4" y="93"/>
                </a:cubicBezTo>
                <a:cubicBezTo>
                  <a:pt x="4" y="86"/>
                  <a:pt x="4" y="86"/>
                  <a:pt x="4" y="86"/>
                </a:cubicBezTo>
                <a:cubicBezTo>
                  <a:pt x="152" y="86"/>
                  <a:pt x="152" y="86"/>
                  <a:pt x="152" y="86"/>
                </a:cubicBezTo>
                <a:lnTo>
                  <a:pt x="152" y="93"/>
                </a:lnTo>
                <a:close/>
                <a:moveTo>
                  <a:pt x="152" y="82"/>
                </a:moveTo>
                <a:cubicBezTo>
                  <a:pt x="4" y="82"/>
                  <a:pt x="4" y="82"/>
                  <a:pt x="4" y="82"/>
                </a:cubicBezTo>
                <a:cubicBezTo>
                  <a:pt x="4" y="12"/>
                  <a:pt x="4" y="12"/>
                  <a:pt x="4" y="12"/>
                </a:cubicBezTo>
                <a:cubicBezTo>
                  <a:pt x="4" y="8"/>
                  <a:pt x="8" y="4"/>
                  <a:pt x="12" y="4"/>
                </a:cubicBezTo>
                <a:cubicBezTo>
                  <a:pt x="143" y="4"/>
                  <a:pt x="143" y="4"/>
                  <a:pt x="143" y="4"/>
                </a:cubicBezTo>
                <a:cubicBezTo>
                  <a:pt x="148" y="4"/>
                  <a:pt x="152" y="8"/>
                  <a:pt x="152" y="12"/>
                </a:cubicBezTo>
                <a:lnTo>
                  <a:pt x="152" y="82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7" name="TextBox 11">
            <a:extLst>
              <a:ext uri="{FF2B5EF4-FFF2-40B4-BE49-F238E27FC236}">
                <a16:creationId xmlns:a16="http://schemas.microsoft.com/office/drawing/2014/main" id="{1F70930A-1B99-4CC6-9B66-24CECEEC2736}"/>
              </a:ext>
            </a:extLst>
          </p:cNvPr>
          <p:cNvSpPr txBox="1"/>
          <p:nvPr/>
        </p:nvSpPr>
        <p:spPr>
          <a:xfrm>
            <a:off x="7791747" y="854261"/>
            <a:ext cx="1733958" cy="369332"/>
          </a:xfrm>
          <a:prstGeom prst="rect">
            <a:avLst/>
          </a:prstGeom>
          <a:noFill/>
          <a:ln w="3175"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VM2 – </a:t>
            </a:r>
            <a:r>
              <a:rPr lang="en-US" dirty="0" err="1"/>
              <a:t>srsRAN</a:t>
            </a:r>
            <a:endParaRPr lang="en-US" dirty="0"/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3D724470-A04C-4CCD-8AFF-7AD10952EA29}"/>
              </a:ext>
            </a:extLst>
          </p:cNvPr>
          <p:cNvCxnSpPr>
            <a:cxnSpLocks/>
            <a:stCxn id="11" idx="20"/>
            <a:endCxn id="10" idx="1"/>
          </p:cNvCxnSpPr>
          <p:nvPr/>
        </p:nvCxnSpPr>
        <p:spPr>
          <a:xfrm>
            <a:off x="5293744" y="1552665"/>
            <a:ext cx="1123302" cy="103386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E307BE2A-7550-4926-B1CE-7DDFC8A717EF}"/>
              </a:ext>
            </a:extLst>
          </p:cNvPr>
          <p:cNvCxnSpPr>
            <a:cxnSpLocks/>
            <a:stCxn id="16" idx="31"/>
            <a:endCxn id="10" idx="0"/>
          </p:cNvCxnSpPr>
          <p:nvPr/>
        </p:nvCxnSpPr>
        <p:spPr>
          <a:xfrm flipH="1">
            <a:off x="6869484" y="1611490"/>
            <a:ext cx="1733958" cy="747564"/>
          </a:xfrm>
          <a:prstGeom prst="bentConnector4">
            <a:avLst>
              <a:gd name="adj1" fmla="val -1465"/>
              <a:gd name="adj2" fmla="val 55092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5E82D818-F245-40BD-8CBE-0CB964C11C52}"/>
              </a:ext>
            </a:extLst>
          </p:cNvPr>
          <p:cNvCxnSpPr>
            <a:cxnSpLocks/>
            <a:stCxn id="10" idx="2"/>
            <a:endCxn id="14" idx="37"/>
          </p:cNvCxnSpPr>
          <p:nvPr/>
        </p:nvCxnSpPr>
        <p:spPr>
          <a:xfrm rot="5400000">
            <a:off x="5462263" y="2631670"/>
            <a:ext cx="1224884" cy="1589559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C93A8C77-727D-4960-B8D7-815A927171EE}"/>
              </a:ext>
            </a:extLst>
          </p:cNvPr>
          <p:cNvCxnSpPr>
            <a:cxnSpLocks/>
            <a:stCxn id="10" idx="3"/>
            <a:endCxn id="9" idx="2"/>
          </p:cNvCxnSpPr>
          <p:nvPr/>
        </p:nvCxnSpPr>
        <p:spPr>
          <a:xfrm>
            <a:off x="7321921" y="2586531"/>
            <a:ext cx="762652" cy="1095583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FB8EC4D-474F-4F0F-9EAD-7D547B55B709}"/>
              </a:ext>
            </a:extLst>
          </p:cNvPr>
          <p:cNvSpPr/>
          <p:nvPr/>
        </p:nvSpPr>
        <p:spPr>
          <a:xfrm>
            <a:off x="8734147" y="1716716"/>
            <a:ext cx="723120" cy="30480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tx1"/>
                </a:solidFill>
              </a:rPr>
              <a:t>eth0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2E28980A-4971-4754-A1C6-6AC50D7F5AD1}"/>
              </a:ext>
            </a:extLst>
          </p:cNvPr>
          <p:cNvSpPr/>
          <p:nvPr/>
        </p:nvSpPr>
        <p:spPr>
          <a:xfrm>
            <a:off x="5337654" y="4069361"/>
            <a:ext cx="668995" cy="30480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tx1"/>
                </a:solidFill>
              </a:rPr>
              <a:t>eth0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50E82D39-0974-42A9-86B2-4BE5C60E64F5}"/>
              </a:ext>
            </a:extLst>
          </p:cNvPr>
          <p:cNvSpPr/>
          <p:nvPr/>
        </p:nvSpPr>
        <p:spPr>
          <a:xfrm>
            <a:off x="5080686" y="1716716"/>
            <a:ext cx="702696" cy="30480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tx1"/>
                </a:solidFill>
              </a:rPr>
              <a:t>eth0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A94BD8C2-DDF9-4722-A7E8-8E7E6C31ED10}"/>
              </a:ext>
            </a:extLst>
          </p:cNvPr>
          <p:cNvCxnSpPr>
            <a:cxnSpLocks/>
          </p:cNvCxnSpPr>
          <p:nvPr/>
        </p:nvCxnSpPr>
        <p:spPr>
          <a:xfrm flipV="1">
            <a:off x="4876516" y="1718231"/>
            <a:ext cx="19951" cy="1547421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48">
            <a:extLst>
              <a:ext uri="{FF2B5EF4-FFF2-40B4-BE49-F238E27FC236}">
                <a16:creationId xmlns:a16="http://schemas.microsoft.com/office/drawing/2014/main" id="{6C286CE2-53A9-4A55-8655-336DB3A77FC4}"/>
              </a:ext>
            </a:extLst>
          </p:cNvPr>
          <p:cNvSpPr txBox="1"/>
          <p:nvPr/>
        </p:nvSpPr>
        <p:spPr>
          <a:xfrm>
            <a:off x="4195331" y="2278753"/>
            <a:ext cx="46038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SSH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F3F201F-DB95-4FA9-B7A7-3460550000A3}"/>
              </a:ext>
            </a:extLst>
          </p:cNvPr>
          <p:cNvCxnSpPr>
            <a:cxnSpLocks/>
          </p:cNvCxnSpPr>
          <p:nvPr/>
        </p:nvCxnSpPr>
        <p:spPr>
          <a:xfrm flipV="1">
            <a:off x="5583183" y="1716716"/>
            <a:ext cx="2649434" cy="207706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50">
            <a:extLst>
              <a:ext uri="{FF2B5EF4-FFF2-40B4-BE49-F238E27FC236}">
                <a16:creationId xmlns:a16="http://schemas.microsoft.com/office/drawing/2014/main" id="{39B29BB7-6B66-4856-8E6B-7D611C766E9B}"/>
              </a:ext>
            </a:extLst>
          </p:cNvPr>
          <p:cNvSpPr txBox="1"/>
          <p:nvPr/>
        </p:nvSpPr>
        <p:spPr>
          <a:xfrm>
            <a:off x="5996143" y="2957875"/>
            <a:ext cx="46038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SSH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72F4E9D-480E-42D7-90F8-819A7F59076B}"/>
              </a:ext>
            </a:extLst>
          </p:cNvPr>
          <p:cNvGrpSpPr/>
          <p:nvPr/>
        </p:nvGrpSpPr>
        <p:grpSpPr>
          <a:xfrm>
            <a:off x="3574668" y="5087699"/>
            <a:ext cx="346075" cy="449263"/>
            <a:chOff x="7470775" y="4067176"/>
            <a:chExt cx="346075" cy="449263"/>
          </a:xfrm>
          <a:solidFill>
            <a:schemeClr val="accent1">
              <a:lumMod val="75000"/>
            </a:schemeClr>
          </a:solidFill>
        </p:grpSpPr>
        <p:sp>
          <p:nvSpPr>
            <p:cNvPr id="52" name="Freeform 92">
              <a:extLst>
                <a:ext uri="{FF2B5EF4-FFF2-40B4-BE49-F238E27FC236}">
                  <a16:creationId xmlns:a16="http://schemas.microsoft.com/office/drawing/2014/main" id="{A7F1909A-F357-4AB4-8DF1-56B5A86EC4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0775" y="4067176"/>
              <a:ext cx="346075" cy="449263"/>
            </a:xfrm>
            <a:custGeom>
              <a:avLst/>
              <a:gdLst>
                <a:gd name="T0" fmla="*/ 82 w 92"/>
                <a:gd name="T1" fmla="*/ 0 h 119"/>
                <a:gd name="T2" fmla="*/ 77 w 92"/>
                <a:gd name="T3" fmla="*/ 0 h 119"/>
                <a:gd name="T4" fmla="*/ 14 w 92"/>
                <a:gd name="T5" fmla="*/ 0 h 119"/>
                <a:gd name="T6" fmla="*/ 9 w 92"/>
                <a:gd name="T7" fmla="*/ 0 h 119"/>
                <a:gd name="T8" fmla="*/ 0 w 92"/>
                <a:gd name="T9" fmla="*/ 10 h 119"/>
                <a:gd name="T10" fmla="*/ 0 w 92"/>
                <a:gd name="T11" fmla="*/ 110 h 119"/>
                <a:gd name="T12" fmla="*/ 9 w 92"/>
                <a:gd name="T13" fmla="*/ 119 h 119"/>
                <a:gd name="T14" fmla="*/ 82 w 92"/>
                <a:gd name="T15" fmla="*/ 119 h 119"/>
                <a:gd name="T16" fmla="*/ 92 w 92"/>
                <a:gd name="T17" fmla="*/ 110 h 119"/>
                <a:gd name="T18" fmla="*/ 92 w 92"/>
                <a:gd name="T19" fmla="*/ 10 h 119"/>
                <a:gd name="T20" fmla="*/ 82 w 92"/>
                <a:gd name="T21" fmla="*/ 0 h 119"/>
                <a:gd name="T22" fmla="*/ 16 w 92"/>
                <a:gd name="T23" fmla="*/ 4 h 119"/>
                <a:gd name="T24" fmla="*/ 75 w 92"/>
                <a:gd name="T25" fmla="*/ 4 h 119"/>
                <a:gd name="T26" fmla="*/ 75 w 92"/>
                <a:gd name="T27" fmla="*/ 12 h 119"/>
                <a:gd name="T28" fmla="*/ 16 w 92"/>
                <a:gd name="T29" fmla="*/ 12 h 119"/>
                <a:gd name="T30" fmla="*/ 16 w 92"/>
                <a:gd name="T31" fmla="*/ 4 h 119"/>
                <a:gd name="T32" fmla="*/ 88 w 92"/>
                <a:gd name="T33" fmla="*/ 110 h 119"/>
                <a:gd name="T34" fmla="*/ 82 w 92"/>
                <a:gd name="T35" fmla="*/ 115 h 119"/>
                <a:gd name="T36" fmla="*/ 9 w 92"/>
                <a:gd name="T37" fmla="*/ 115 h 119"/>
                <a:gd name="T38" fmla="*/ 4 w 92"/>
                <a:gd name="T39" fmla="*/ 110 h 119"/>
                <a:gd name="T40" fmla="*/ 4 w 92"/>
                <a:gd name="T41" fmla="*/ 10 h 119"/>
                <a:gd name="T42" fmla="*/ 9 w 92"/>
                <a:gd name="T43" fmla="*/ 4 h 119"/>
                <a:gd name="T44" fmla="*/ 12 w 92"/>
                <a:gd name="T45" fmla="*/ 4 h 119"/>
                <a:gd name="T46" fmla="*/ 12 w 92"/>
                <a:gd name="T47" fmla="*/ 14 h 119"/>
                <a:gd name="T48" fmla="*/ 14 w 92"/>
                <a:gd name="T49" fmla="*/ 16 h 119"/>
                <a:gd name="T50" fmla="*/ 77 w 92"/>
                <a:gd name="T51" fmla="*/ 16 h 119"/>
                <a:gd name="T52" fmla="*/ 79 w 92"/>
                <a:gd name="T53" fmla="*/ 14 h 119"/>
                <a:gd name="T54" fmla="*/ 79 w 92"/>
                <a:gd name="T55" fmla="*/ 4 h 119"/>
                <a:gd name="T56" fmla="*/ 82 w 92"/>
                <a:gd name="T57" fmla="*/ 4 h 119"/>
                <a:gd name="T58" fmla="*/ 88 w 92"/>
                <a:gd name="T59" fmla="*/ 10 h 119"/>
                <a:gd name="T60" fmla="*/ 88 w 92"/>
                <a:gd name="T61" fmla="*/ 11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2" h="119">
                  <a:moveTo>
                    <a:pt x="82" y="0"/>
                  </a:moveTo>
                  <a:cubicBezTo>
                    <a:pt x="77" y="0"/>
                    <a:pt x="77" y="0"/>
                    <a:pt x="77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5"/>
                    <a:pt x="4" y="119"/>
                    <a:pt x="9" y="119"/>
                  </a:cubicBezTo>
                  <a:cubicBezTo>
                    <a:pt x="82" y="119"/>
                    <a:pt x="82" y="119"/>
                    <a:pt x="82" y="119"/>
                  </a:cubicBezTo>
                  <a:cubicBezTo>
                    <a:pt x="88" y="119"/>
                    <a:pt x="92" y="115"/>
                    <a:pt x="92" y="1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4"/>
                    <a:pt x="88" y="0"/>
                    <a:pt x="82" y="0"/>
                  </a:cubicBezTo>
                  <a:close/>
                  <a:moveTo>
                    <a:pt x="16" y="4"/>
                  </a:moveTo>
                  <a:cubicBezTo>
                    <a:pt x="75" y="4"/>
                    <a:pt x="75" y="4"/>
                    <a:pt x="75" y="4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16" y="12"/>
                    <a:pt x="16" y="12"/>
                    <a:pt x="16" y="12"/>
                  </a:cubicBezTo>
                  <a:lnTo>
                    <a:pt x="16" y="4"/>
                  </a:lnTo>
                  <a:close/>
                  <a:moveTo>
                    <a:pt x="88" y="110"/>
                  </a:moveTo>
                  <a:cubicBezTo>
                    <a:pt x="88" y="113"/>
                    <a:pt x="85" y="115"/>
                    <a:pt x="82" y="115"/>
                  </a:cubicBezTo>
                  <a:cubicBezTo>
                    <a:pt x="9" y="115"/>
                    <a:pt x="9" y="115"/>
                    <a:pt x="9" y="115"/>
                  </a:cubicBezTo>
                  <a:cubicBezTo>
                    <a:pt x="6" y="115"/>
                    <a:pt x="4" y="113"/>
                    <a:pt x="4" y="1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7"/>
                    <a:pt x="6" y="4"/>
                    <a:pt x="9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5"/>
                    <a:pt x="13" y="16"/>
                    <a:pt x="14" y="16"/>
                  </a:cubicBezTo>
                  <a:cubicBezTo>
                    <a:pt x="77" y="16"/>
                    <a:pt x="77" y="16"/>
                    <a:pt x="77" y="16"/>
                  </a:cubicBezTo>
                  <a:cubicBezTo>
                    <a:pt x="78" y="16"/>
                    <a:pt x="79" y="15"/>
                    <a:pt x="79" y="14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5" y="4"/>
                    <a:pt x="88" y="7"/>
                    <a:pt x="88" y="10"/>
                  </a:cubicBezTo>
                  <a:lnTo>
                    <a:pt x="88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3" name="Freeform 93">
              <a:extLst>
                <a:ext uri="{FF2B5EF4-FFF2-40B4-BE49-F238E27FC236}">
                  <a16:creationId xmlns:a16="http://schemas.microsoft.com/office/drawing/2014/main" id="{EBF85841-09C4-46FA-B72C-16516F7A82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4275" y="4191001"/>
              <a:ext cx="71438" cy="53975"/>
            </a:xfrm>
            <a:custGeom>
              <a:avLst/>
              <a:gdLst>
                <a:gd name="T0" fmla="*/ 15 w 19"/>
                <a:gd name="T1" fmla="*/ 1 h 14"/>
                <a:gd name="T2" fmla="*/ 7 w 19"/>
                <a:gd name="T3" fmla="*/ 9 h 14"/>
                <a:gd name="T4" fmla="*/ 4 w 19"/>
                <a:gd name="T5" fmla="*/ 6 h 14"/>
                <a:gd name="T6" fmla="*/ 1 w 19"/>
                <a:gd name="T7" fmla="*/ 6 h 14"/>
                <a:gd name="T8" fmla="*/ 1 w 19"/>
                <a:gd name="T9" fmla="*/ 9 h 14"/>
                <a:gd name="T10" fmla="*/ 6 w 19"/>
                <a:gd name="T11" fmla="*/ 13 h 14"/>
                <a:gd name="T12" fmla="*/ 7 w 19"/>
                <a:gd name="T13" fmla="*/ 14 h 14"/>
                <a:gd name="T14" fmla="*/ 8 w 19"/>
                <a:gd name="T15" fmla="*/ 13 h 14"/>
                <a:gd name="T16" fmla="*/ 18 w 19"/>
                <a:gd name="T17" fmla="*/ 4 h 14"/>
                <a:gd name="T18" fmla="*/ 18 w 19"/>
                <a:gd name="T19" fmla="*/ 1 h 14"/>
                <a:gd name="T20" fmla="*/ 15 w 19"/>
                <a:gd name="T21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4">
                  <a:moveTo>
                    <a:pt x="15" y="1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5"/>
                    <a:pt x="2" y="5"/>
                    <a:pt x="1" y="6"/>
                  </a:cubicBezTo>
                  <a:cubicBezTo>
                    <a:pt x="0" y="7"/>
                    <a:pt x="0" y="8"/>
                    <a:pt x="1" y="9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4"/>
                    <a:pt x="7" y="14"/>
                    <a:pt x="7" y="14"/>
                  </a:cubicBezTo>
                  <a:cubicBezTo>
                    <a:pt x="8" y="14"/>
                    <a:pt x="8" y="14"/>
                    <a:pt x="8" y="13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9" y="3"/>
                    <a:pt x="19" y="2"/>
                    <a:pt x="18" y="1"/>
                  </a:cubicBezTo>
                  <a:cubicBezTo>
                    <a:pt x="17" y="0"/>
                    <a:pt x="16" y="0"/>
                    <a:pt x="1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4" name="Freeform 94">
              <a:extLst>
                <a:ext uri="{FF2B5EF4-FFF2-40B4-BE49-F238E27FC236}">
                  <a16:creationId xmlns:a16="http://schemas.microsoft.com/office/drawing/2014/main" id="{BCEC0530-7083-41C5-BCDF-4384F54344E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4275" y="4283076"/>
              <a:ext cx="71438" cy="52388"/>
            </a:xfrm>
            <a:custGeom>
              <a:avLst/>
              <a:gdLst>
                <a:gd name="T0" fmla="*/ 15 w 19"/>
                <a:gd name="T1" fmla="*/ 1 h 14"/>
                <a:gd name="T2" fmla="*/ 7 w 19"/>
                <a:gd name="T3" fmla="*/ 9 h 14"/>
                <a:gd name="T4" fmla="*/ 4 w 19"/>
                <a:gd name="T5" fmla="*/ 6 h 14"/>
                <a:gd name="T6" fmla="*/ 1 w 19"/>
                <a:gd name="T7" fmla="*/ 6 h 14"/>
                <a:gd name="T8" fmla="*/ 1 w 19"/>
                <a:gd name="T9" fmla="*/ 9 h 14"/>
                <a:gd name="T10" fmla="*/ 6 w 19"/>
                <a:gd name="T11" fmla="*/ 14 h 14"/>
                <a:gd name="T12" fmla="*/ 7 w 19"/>
                <a:gd name="T13" fmla="*/ 14 h 14"/>
                <a:gd name="T14" fmla="*/ 8 w 19"/>
                <a:gd name="T15" fmla="*/ 14 h 14"/>
                <a:gd name="T16" fmla="*/ 18 w 19"/>
                <a:gd name="T17" fmla="*/ 4 h 14"/>
                <a:gd name="T18" fmla="*/ 18 w 19"/>
                <a:gd name="T19" fmla="*/ 1 h 14"/>
                <a:gd name="T20" fmla="*/ 15 w 19"/>
                <a:gd name="T21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4">
                  <a:moveTo>
                    <a:pt x="15" y="1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5"/>
                    <a:pt x="2" y="5"/>
                    <a:pt x="1" y="6"/>
                  </a:cubicBezTo>
                  <a:cubicBezTo>
                    <a:pt x="0" y="7"/>
                    <a:pt x="0" y="8"/>
                    <a:pt x="1" y="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7" y="14"/>
                    <a:pt x="7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9" y="3"/>
                    <a:pt x="19" y="2"/>
                    <a:pt x="18" y="1"/>
                  </a:cubicBezTo>
                  <a:cubicBezTo>
                    <a:pt x="17" y="0"/>
                    <a:pt x="16" y="0"/>
                    <a:pt x="1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5" name="Freeform 95">
              <a:extLst>
                <a:ext uri="{FF2B5EF4-FFF2-40B4-BE49-F238E27FC236}">
                  <a16:creationId xmlns:a16="http://schemas.microsoft.com/office/drawing/2014/main" id="{AB1CB909-009F-4197-BD1B-63E8AB311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4275" y="4376738"/>
              <a:ext cx="71438" cy="52388"/>
            </a:xfrm>
            <a:custGeom>
              <a:avLst/>
              <a:gdLst>
                <a:gd name="T0" fmla="*/ 15 w 19"/>
                <a:gd name="T1" fmla="*/ 0 h 14"/>
                <a:gd name="T2" fmla="*/ 7 w 19"/>
                <a:gd name="T3" fmla="*/ 9 h 14"/>
                <a:gd name="T4" fmla="*/ 4 w 19"/>
                <a:gd name="T5" fmla="*/ 5 h 14"/>
                <a:gd name="T6" fmla="*/ 1 w 19"/>
                <a:gd name="T7" fmla="*/ 5 h 14"/>
                <a:gd name="T8" fmla="*/ 1 w 19"/>
                <a:gd name="T9" fmla="*/ 8 h 14"/>
                <a:gd name="T10" fmla="*/ 6 w 19"/>
                <a:gd name="T11" fmla="*/ 13 h 14"/>
                <a:gd name="T12" fmla="*/ 7 w 19"/>
                <a:gd name="T13" fmla="*/ 14 h 14"/>
                <a:gd name="T14" fmla="*/ 8 w 19"/>
                <a:gd name="T15" fmla="*/ 13 h 14"/>
                <a:gd name="T16" fmla="*/ 18 w 19"/>
                <a:gd name="T17" fmla="*/ 3 h 14"/>
                <a:gd name="T18" fmla="*/ 18 w 19"/>
                <a:gd name="T19" fmla="*/ 0 h 14"/>
                <a:gd name="T20" fmla="*/ 15 w 19"/>
                <a:gd name="T21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4">
                  <a:moveTo>
                    <a:pt x="15" y="0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5"/>
                    <a:pt x="2" y="5"/>
                    <a:pt x="1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7" y="14"/>
                    <a:pt x="7" y="14"/>
                  </a:cubicBezTo>
                  <a:cubicBezTo>
                    <a:pt x="8" y="14"/>
                    <a:pt x="8" y="13"/>
                    <a:pt x="8" y="1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9" y="2"/>
                    <a:pt x="19" y="1"/>
                    <a:pt x="18" y="0"/>
                  </a:cubicBezTo>
                  <a:cubicBezTo>
                    <a:pt x="17" y="0"/>
                    <a:pt x="16" y="0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6" name="Freeform 96">
              <a:extLst>
                <a:ext uri="{FF2B5EF4-FFF2-40B4-BE49-F238E27FC236}">
                  <a16:creationId xmlns:a16="http://schemas.microsoft.com/office/drawing/2014/main" id="{32A7DA22-DED0-4937-9AEF-4946D2354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2700" y="4229101"/>
              <a:ext cx="115888" cy="15875"/>
            </a:xfrm>
            <a:custGeom>
              <a:avLst/>
              <a:gdLst>
                <a:gd name="T0" fmla="*/ 29 w 31"/>
                <a:gd name="T1" fmla="*/ 0 h 4"/>
                <a:gd name="T2" fmla="*/ 2 w 31"/>
                <a:gd name="T3" fmla="*/ 0 h 4"/>
                <a:gd name="T4" fmla="*/ 0 w 31"/>
                <a:gd name="T5" fmla="*/ 2 h 4"/>
                <a:gd name="T6" fmla="*/ 2 w 31"/>
                <a:gd name="T7" fmla="*/ 4 h 4"/>
                <a:gd name="T8" fmla="*/ 29 w 31"/>
                <a:gd name="T9" fmla="*/ 4 h 4"/>
                <a:gd name="T10" fmla="*/ 31 w 31"/>
                <a:gd name="T11" fmla="*/ 2 h 4"/>
                <a:gd name="T12" fmla="*/ 29 w 31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4">
                  <a:moveTo>
                    <a:pt x="2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0" y="4"/>
                    <a:pt x="31" y="3"/>
                    <a:pt x="31" y="2"/>
                  </a:cubicBezTo>
                  <a:cubicBezTo>
                    <a:pt x="31" y="1"/>
                    <a:pt x="30" y="0"/>
                    <a:pt x="2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7" name="Freeform 97">
              <a:extLst>
                <a:ext uri="{FF2B5EF4-FFF2-40B4-BE49-F238E27FC236}">
                  <a16:creationId xmlns:a16="http://schemas.microsoft.com/office/drawing/2014/main" id="{28B2003F-141B-47CC-ADC8-3D964FF11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2700" y="4319588"/>
              <a:ext cx="115888" cy="15875"/>
            </a:xfrm>
            <a:custGeom>
              <a:avLst/>
              <a:gdLst>
                <a:gd name="T0" fmla="*/ 29 w 31"/>
                <a:gd name="T1" fmla="*/ 0 h 4"/>
                <a:gd name="T2" fmla="*/ 2 w 31"/>
                <a:gd name="T3" fmla="*/ 0 h 4"/>
                <a:gd name="T4" fmla="*/ 0 w 31"/>
                <a:gd name="T5" fmla="*/ 2 h 4"/>
                <a:gd name="T6" fmla="*/ 2 w 31"/>
                <a:gd name="T7" fmla="*/ 4 h 4"/>
                <a:gd name="T8" fmla="*/ 29 w 31"/>
                <a:gd name="T9" fmla="*/ 4 h 4"/>
                <a:gd name="T10" fmla="*/ 31 w 31"/>
                <a:gd name="T11" fmla="*/ 2 h 4"/>
                <a:gd name="T12" fmla="*/ 29 w 31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4">
                  <a:moveTo>
                    <a:pt x="2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0" y="4"/>
                    <a:pt x="31" y="3"/>
                    <a:pt x="31" y="2"/>
                  </a:cubicBezTo>
                  <a:cubicBezTo>
                    <a:pt x="31" y="1"/>
                    <a:pt x="30" y="0"/>
                    <a:pt x="2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8" name="Freeform 98">
              <a:extLst>
                <a:ext uri="{FF2B5EF4-FFF2-40B4-BE49-F238E27FC236}">
                  <a16:creationId xmlns:a16="http://schemas.microsoft.com/office/drawing/2014/main" id="{C2F4B01A-4551-411E-8A25-04AEA8EC1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2700" y="4414838"/>
              <a:ext cx="115888" cy="14288"/>
            </a:xfrm>
            <a:custGeom>
              <a:avLst/>
              <a:gdLst>
                <a:gd name="T0" fmla="*/ 29 w 31"/>
                <a:gd name="T1" fmla="*/ 0 h 4"/>
                <a:gd name="T2" fmla="*/ 2 w 31"/>
                <a:gd name="T3" fmla="*/ 0 h 4"/>
                <a:gd name="T4" fmla="*/ 0 w 31"/>
                <a:gd name="T5" fmla="*/ 2 h 4"/>
                <a:gd name="T6" fmla="*/ 2 w 31"/>
                <a:gd name="T7" fmla="*/ 4 h 4"/>
                <a:gd name="T8" fmla="*/ 29 w 31"/>
                <a:gd name="T9" fmla="*/ 4 h 4"/>
                <a:gd name="T10" fmla="*/ 31 w 31"/>
                <a:gd name="T11" fmla="*/ 2 h 4"/>
                <a:gd name="T12" fmla="*/ 29 w 31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4">
                  <a:moveTo>
                    <a:pt x="2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0" y="4"/>
                    <a:pt x="31" y="3"/>
                    <a:pt x="31" y="2"/>
                  </a:cubicBezTo>
                  <a:cubicBezTo>
                    <a:pt x="31" y="0"/>
                    <a:pt x="30" y="0"/>
                    <a:pt x="2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497D958-D546-46D7-871F-36FFF2BAB8B7}"/>
              </a:ext>
            </a:extLst>
          </p:cNvPr>
          <p:cNvGrpSpPr/>
          <p:nvPr/>
        </p:nvGrpSpPr>
        <p:grpSpPr>
          <a:xfrm>
            <a:off x="4449881" y="5113893"/>
            <a:ext cx="471488" cy="396875"/>
            <a:chOff x="2274888" y="6743701"/>
            <a:chExt cx="471488" cy="396875"/>
          </a:xfrm>
          <a:solidFill>
            <a:schemeClr val="accent1">
              <a:lumMod val="75000"/>
            </a:schemeClr>
          </a:solidFill>
        </p:grpSpPr>
        <p:sp>
          <p:nvSpPr>
            <p:cNvPr id="44" name="Freeform 173">
              <a:extLst>
                <a:ext uri="{FF2B5EF4-FFF2-40B4-BE49-F238E27FC236}">
                  <a16:creationId xmlns:a16="http://schemas.microsoft.com/office/drawing/2014/main" id="{24501ED2-EDF0-418C-BD1A-638B3DF8B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4888" y="6743701"/>
              <a:ext cx="320675" cy="396875"/>
            </a:xfrm>
            <a:custGeom>
              <a:avLst/>
              <a:gdLst>
                <a:gd name="T0" fmla="*/ 83 w 85"/>
                <a:gd name="T1" fmla="*/ 105 h 105"/>
                <a:gd name="T2" fmla="*/ 2 w 85"/>
                <a:gd name="T3" fmla="*/ 105 h 105"/>
                <a:gd name="T4" fmla="*/ 0 w 85"/>
                <a:gd name="T5" fmla="*/ 103 h 105"/>
                <a:gd name="T6" fmla="*/ 0 w 85"/>
                <a:gd name="T7" fmla="*/ 2 h 105"/>
                <a:gd name="T8" fmla="*/ 2 w 85"/>
                <a:gd name="T9" fmla="*/ 0 h 105"/>
                <a:gd name="T10" fmla="*/ 83 w 85"/>
                <a:gd name="T11" fmla="*/ 0 h 105"/>
                <a:gd name="T12" fmla="*/ 85 w 85"/>
                <a:gd name="T13" fmla="*/ 2 h 105"/>
                <a:gd name="T14" fmla="*/ 85 w 85"/>
                <a:gd name="T15" fmla="*/ 34 h 105"/>
                <a:gd name="T16" fmla="*/ 83 w 85"/>
                <a:gd name="T17" fmla="*/ 36 h 105"/>
                <a:gd name="T18" fmla="*/ 81 w 85"/>
                <a:gd name="T19" fmla="*/ 34 h 105"/>
                <a:gd name="T20" fmla="*/ 81 w 85"/>
                <a:gd name="T21" fmla="*/ 4 h 105"/>
                <a:gd name="T22" fmla="*/ 4 w 85"/>
                <a:gd name="T23" fmla="*/ 4 h 105"/>
                <a:gd name="T24" fmla="*/ 4 w 85"/>
                <a:gd name="T25" fmla="*/ 101 h 105"/>
                <a:gd name="T26" fmla="*/ 81 w 85"/>
                <a:gd name="T27" fmla="*/ 101 h 105"/>
                <a:gd name="T28" fmla="*/ 81 w 85"/>
                <a:gd name="T29" fmla="*/ 61 h 105"/>
                <a:gd name="T30" fmla="*/ 83 w 85"/>
                <a:gd name="T31" fmla="*/ 59 h 105"/>
                <a:gd name="T32" fmla="*/ 85 w 85"/>
                <a:gd name="T33" fmla="*/ 61 h 105"/>
                <a:gd name="T34" fmla="*/ 85 w 85"/>
                <a:gd name="T35" fmla="*/ 103 h 105"/>
                <a:gd name="T36" fmla="*/ 83 w 85"/>
                <a:gd name="T3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5" h="105">
                  <a:moveTo>
                    <a:pt x="83" y="105"/>
                  </a:moveTo>
                  <a:cubicBezTo>
                    <a:pt x="2" y="105"/>
                    <a:pt x="2" y="105"/>
                    <a:pt x="2" y="105"/>
                  </a:cubicBezTo>
                  <a:cubicBezTo>
                    <a:pt x="1" y="105"/>
                    <a:pt x="0" y="104"/>
                    <a:pt x="0" y="10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4" y="0"/>
                    <a:pt x="85" y="0"/>
                    <a:pt x="85" y="2"/>
                  </a:cubicBezTo>
                  <a:cubicBezTo>
                    <a:pt x="85" y="34"/>
                    <a:pt x="85" y="34"/>
                    <a:pt x="85" y="34"/>
                  </a:cubicBezTo>
                  <a:cubicBezTo>
                    <a:pt x="85" y="35"/>
                    <a:pt x="84" y="36"/>
                    <a:pt x="83" y="36"/>
                  </a:cubicBezTo>
                  <a:cubicBezTo>
                    <a:pt x="81" y="36"/>
                    <a:pt x="81" y="35"/>
                    <a:pt x="81" y="34"/>
                  </a:cubicBezTo>
                  <a:cubicBezTo>
                    <a:pt x="81" y="4"/>
                    <a:pt x="81" y="4"/>
                    <a:pt x="81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101"/>
                    <a:pt x="4" y="101"/>
                    <a:pt x="4" y="101"/>
                  </a:cubicBezTo>
                  <a:cubicBezTo>
                    <a:pt x="81" y="101"/>
                    <a:pt x="81" y="101"/>
                    <a:pt x="81" y="101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1" y="60"/>
                    <a:pt x="81" y="59"/>
                    <a:pt x="83" y="59"/>
                  </a:cubicBezTo>
                  <a:cubicBezTo>
                    <a:pt x="84" y="59"/>
                    <a:pt x="85" y="60"/>
                    <a:pt x="85" y="61"/>
                  </a:cubicBezTo>
                  <a:cubicBezTo>
                    <a:pt x="85" y="103"/>
                    <a:pt x="85" y="103"/>
                    <a:pt x="85" y="103"/>
                  </a:cubicBezTo>
                  <a:cubicBezTo>
                    <a:pt x="85" y="104"/>
                    <a:pt x="84" y="105"/>
                    <a:pt x="83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5" name="Freeform 174">
              <a:extLst>
                <a:ext uri="{FF2B5EF4-FFF2-40B4-BE49-F238E27FC236}">
                  <a16:creationId xmlns:a16="http://schemas.microsoft.com/office/drawing/2014/main" id="{840C87DA-F868-47E7-9E24-B218817E68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39975" y="6842126"/>
              <a:ext cx="74613" cy="74613"/>
            </a:xfrm>
            <a:custGeom>
              <a:avLst/>
              <a:gdLst>
                <a:gd name="T0" fmla="*/ 18 w 20"/>
                <a:gd name="T1" fmla="*/ 20 h 20"/>
                <a:gd name="T2" fmla="*/ 2 w 20"/>
                <a:gd name="T3" fmla="*/ 20 h 20"/>
                <a:gd name="T4" fmla="*/ 0 w 20"/>
                <a:gd name="T5" fmla="*/ 18 h 20"/>
                <a:gd name="T6" fmla="*/ 0 w 20"/>
                <a:gd name="T7" fmla="*/ 2 h 20"/>
                <a:gd name="T8" fmla="*/ 2 w 20"/>
                <a:gd name="T9" fmla="*/ 0 h 20"/>
                <a:gd name="T10" fmla="*/ 18 w 20"/>
                <a:gd name="T11" fmla="*/ 0 h 20"/>
                <a:gd name="T12" fmla="*/ 20 w 20"/>
                <a:gd name="T13" fmla="*/ 2 h 20"/>
                <a:gd name="T14" fmla="*/ 20 w 20"/>
                <a:gd name="T15" fmla="*/ 18 h 20"/>
                <a:gd name="T16" fmla="*/ 18 w 20"/>
                <a:gd name="T17" fmla="*/ 20 h 20"/>
                <a:gd name="T18" fmla="*/ 4 w 20"/>
                <a:gd name="T19" fmla="*/ 16 h 20"/>
                <a:gd name="T20" fmla="*/ 16 w 20"/>
                <a:gd name="T21" fmla="*/ 16 h 20"/>
                <a:gd name="T22" fmla="*/ 16 w 20"/>
                <a:gd name="T23" fmla="*/ 4 h 20"/>
                <a:gd name="T24" fmla="*/ 4 w 20"/>
                <a:gd name="T25" fmla="*/ 4 h 20"/>
                <a:gd name="T26" fmla="*/ 4 w 20"/>
                <a:gd name="T27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20">
                  <a:moveTo>
                    <a:pt x="18" y="20"/>
                  </a:move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9"/>
                    <a:pt x="19" y="20"/>
                    <a:pt x="18" y="20"/>
                  </a:cubicBezTo>
                  <a:close/>
                  <a:moveTo>
                    <a:pt x="4" y="16"/>
                  </a:moveTo>
                  <a:cubicBezTo>
                    <a:pt x="16" y="16"/>
                    <a:pt x="16" y="16"/>
                    <a:pt x="16" y="16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6" name="Freeform 175">
              <a:extLst>
                <a:ext uri="{FF2B5EF4-FFF2-40B4-BE49-F238E27FC236}">
                  <a16:creationId xmlns:a16="http://schemas.microsoft.com/office/drawing/2014/main" id="{0AB15D26-06EF-4414-8B40-2EDF652018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39975" y="6965951"/>
              <a:ext cx="74613" cy="76200"/>
            </a:xfrm>
            <a:custGeom>
              <a:avLst/>
              <a:gdLst>
                <a:gd name="T0" fmla="*/ 18 w 20"/>
                <a:gd name="T1" fmla="*/ 20 h 20"/>
                <a:gd name="T2" fmla="*/ 2 w 20"/>
                <a:gd name="T3" fmla="*/ 20 h 20"/>
                <a:gd name="T4" fmla="*/ 0 w 20"/>
                <a:gd name="T5" fmla="*/ 18 h 20"/>
                <a:gd name="T6" fmla="*/ 0 w 20"/>
                <a:gd name="T7" fmla="*/ 2 h 20"/>
                <a:gd name="T8" fmla="*/ 2 w 20"/>
                <a:gd name="T9" fmla="*/ 0 h 20"/>
                <a:gd name="T10" fmla="*/ 18 w 20"/>
                <a:gd name="T11" fmla="*/ 0 h 20"/>
                <a:gd name="T12" fmla="*/ 20 w 20"/>
                <a:gd name="T13" fmla="*/ 2 h 20"/>
                <a:gd name="T14" fmla="*/ 20 w 20"/>
                <a:gd name="T15" fmla="*/ 18 h 20"/>
                <a:gd name="T16" fmla="*/ 18 w 20"/>
                <a:gd name="T17" fmla="*/ 20 h 20"/>
                <a:gd name="T18" fmla="*/ 4 w 20"/>
                <a:gd name="T19" fmla="*/ 16 h 20"/>
                <a:gd name="T20" fmla="*/ 16 w 20"/>
                <a:gd name="T21" fmla="*/ 16 h 20"/>
                <a:gd name="T22" fmla="*/ 16 w 20"/>
                <a:gd name="T23" fmla="*/ 4 h 20"/>
                <a:gd name="T24" fmla="*/ 4 w 20"/>
                <a:gd name="T25" fmla="*/ 4 h 20"/>
                <a:gd name="T26" fmla="*/ 4 w 20"/>
                <a:gd name="T27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20">
                  <a:moveTo>
                    <a:pt x="18" y="20"/>
                  </a:move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9"/>
                    <a:pt x="19" y="20"/>
                    <a:pt x="18" y="20"/>
                  </a:cubicBezTo>
                  <a:close/>
                  <a:moveTo>
                    <a:pt x="4" y="16"/>
                  </a:moveTo>
                  <a:cubicBezTo>
                    <a:pt x="16" y="16"/>
                    <a:pt x="16" y="16"/>
                    <a:pt x="16" y="16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7" name="Freeform 176">
              <a:extLst>
                <a:ext uri="{FF2B5EF4-FFF2-40B4-BE49-F238E27FC236}">
                  <a16:creationId xmlns:a16="http://schemas.microsoft.com/office/drawing/2014/main" id="{69FC0543-918E-4758-98BB-DCFD8885D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1575" y="6902451"/>
              <a:ext cx="71438" cy="14288"/>
            </a:xfrm>
            <a:custGeom>
              <a:avLst/>
              <a:gdLst>
                <a:gd name="T0" fmla="*/ 17 w 19"/>
                <a:gd name="T1" fmla="*/ 4 h 4"/>
                <a:gd name="T2" fmla="*/ 2 w 19"/>
                <a:gd name="T3" fmla="*/ 4 h 4"/>
                <a:gd name="T4" fmla="*/ 0 w 19"/>
                <a:gd name="T5" fmla="*/ 2 h 4"/>
                <a:gd name="T6" fmla="*/ 2 w 19"/>
                <a:gd name="T7" fmla="*/ 0 h 4"/>
                <a:gd name="T8" fmla="*/ 17 w 19"/>
                <a:gd name="T9" fmla="*/ 0 h 4"/>
                <a:gd name="T10" fmla="*/ 19 w 19"/>
                <a:gd name="T11" fmla="*/ 2 h 4"/>
                <a:gd name="T12" fmla="*/ 17 w 19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4">
                  <a:moveTo>
                    <a:pt x="17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0"/>
                    <a:pt x="19" y="1"/>
                    <a:pt x="19" y="2"/>
                  </a:cubicBezTo>
                  <a:cubicBezTo>
                    <a:pt x="19" y="3"/>
                    <a:pt x="18" y="4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8" name="Freeform 177">
              <a:extLst>
                <a:ext uri="{FF2B5EF4-FFF2-40B4-BE49-F238E27FC236}">
                  <a16:creationId xmlns:a16="http://schemas.microsoft.com/office/drawing/2014/main" id="{161EAA52-22B1-4020-9B2E-DEF709C92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1575" y="7026276"/>
              <a:ext cx="71438" cy="15875"/>
            </a:xfrm>
            <a:custGeom>
              <a:avLst/>
              <a:gdLst>
                <a:gd name="T0" fmla="*/ 17 w 19"/>
                <a:gd name="T1" fmla="*/ 4 h 4"/>
                <a:gd name="T2" fmla="*/ 2 w 19"/>
                <a:gd name="T3" fmla="*/ 4 h 4"/>
                <a:gd name="T4" fmla="*/ 0 w 19"/>
                <a:gd name="T5" fmla="*/ 2 h 4"/>
                <a:gd name="T6" fmla="*/ 2 w 19"/>
                <a:gd name="T7" fmla="*/ 0 h 4"/>
                <a:gd name="T8" fmla="*/ 17 w 19"/>
                <a:gd name="T9" fmla="*/ 0 h 4"/>
                <a:gd name="T10" fmla="*/ 19 w 19"/>
                <a:gd name="T11" fmla="*/ 2 h 4"/>
                <a:gd name="T12" fmla="*/ 17 w 19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4">
                  <a:moveTo>
                    <a:pt x="17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0"/>
                    <a:pt x="19" y="1"/>
                    <a:pt x="19" y="2"/>
                  </a:cubicBezTo>
                  <a:cubicBezTo>
                    <a:pt x="19" y="3"/>
                    <a:pt x="18" y="4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9" name="Freeform 178">
              <a:extLst>
                <a:ext uri="{FF2B5EF4-FFF2-40B4-BE49-F238E27FC236}">
                  <a16:creationId xmlns:a16="http://schemas.microsoft.com/office/drawing/2014/main" id="{AE96011A-E2B8-433F-9712-C11C1B60F3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7138" y="6796088"/>
              <a:ext cx="215900" cy="211138"/>
            </a:xfrm>
            <a:custGeom>
              <a:avLst/>
              <a:gdLst>
                <a:gd name="T0" fmla="*/ 2 w 57"/>
                <a:gd name="T1" fmla="*/ 56 h 56"/>
                <a:gd name="T2" fmla="*/ 1 w 57"/>
                <a:gd name="T3" fmla="*/ 56 h 56"/>
                <a:gd name="T4" fmla="*/ 0 w 57"/>
                <a:gd name="T5" fmla="*/ 54 h 56"/>
                <a:gd name="T6" fmla="*/ 5 w 57"/>
                <a:gd name="T7" fmla="*/ 37 h 56"/>
                <a:gd name="T8" fmla="*/ 6 w 57"/>
                <a:gd name="T9" fmla="*/ 36 h 56"/>
                <a:gd name="T10" fmla="*/ 41 w 57"/>
                <a:gd name="T11" fmla="*/ 0 h 56"/>
                <a:gd name="T12" fmla="*/ 44 w 57"/>
                <a:gd name="T13" fmla="*/ 0 h 56"/>
                <a:gd name="T14" fmla="*/ 56 w 57"/>
                <a:gd name="T15" fmla="*/ 12 h 56"/>
                <a:gd name="T16" fmla="*/ 57 w 57"/>
                <a:gd name="T17" fmla="*/ 14 h 56"/>
                <a:gd name="T18" fmla="*/ 56 w 57"/>
                <a:gd name="T19" fmla="*/ 15 h 56"/>
                <a:gd name="T20" fmla="*/ 20 w 57"/>
                <a:gd name="T21" fmla="*/ 51 h 56"/>
                <a:gd name="T22" fmla="*/ 19 w 57"/>
                <a:gd name="T23" fmla="*/ 51 h 56"/>
                <a:gd name="T24" fmla="*/ 3 w 57"/>
                <a:gd name="T25" fmla="*/ 56 h 56"/>
                <a:gd name="T26" fmla="*/ 2 w 57"/>
                <a:gd name="T27" fmla="*/ 56 h 56"/>
                <a:gd name="T28" fmla="*/ 9 w 57"/>
                <a:gd name="T29" fmla="*/ 39 h 56"/>
                <a:gd name="T30" fmla="*/ 5 w 57"/>
                <a:gd name="T31" fmla="*/ 51 h 56"/>
                <a:gd name="T32" fmla="*/ 18 w 57"/>
                <a:gd name="T33" fmla="*/ 48 h 56"/>
                <a:gd name="T34" fmla="*/ 52 w 57"/>
                <a:gd name="T35" fmla="*/ 14 h 56"/>
                <a:gd name="T36" fmla="*/ 43 w 57"/>
                <a:gd name="T37" fmla="*/ 5 h 56"/>
                <a:gd name="T38" fmla="*/ 9 w 57"/>
                <a:gd name="T39" fmla="*/ 3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7" h="56">
                  <a:moveTo>
                    <a:pt x="2" y="56"/>
                  </a:moveTo>
                  <a:cubicBezTo>
                    <a:pt x="2" y="56"/>
                    <a:pt x="1" y="56"/>
                    <a:pt x="1" y="56"/>
                  </a:cubicBezTo>
                  <a:cubicBezTo>
                    <a:pt x="0" y="55"/>
                    <a:pt x="0" y="55"/>
                    <a:pt x="0" y="54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37"/>
                    <a:pt x="5" y="37"/>
                    <a:pt x="6" y="36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2" y="0"/>
                    <a:pt x="43" y="0"/>
                    <a:pt x="44" y="0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6" y="13"/>
                    <a:pt x="57" y="13"/>
                    <a:pt x="57" y="14"/>
                  </a:cubicBezTo>
                  <a:cubicBezTo>
                    <a:pt x="57" y="14"/>
                    <a:pt x="56" y="15"/>
                    <a:pt x="56" y="1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0" y="51"/>
                    <a:pt x="20" y="51"/>
                    <a:pt x="19" y="51"/>
                  </a:cubicBezTo>
                  <a:cubicBezTo>
                    <a:pt x="3" y="56"/>
                    <a:pt x="3" y="56"/>
                    <a:pt x="3" y="56"/>
                  </a:cubicBezTo>
                  <a:cubicBezTo>
                    <a:pt x="2" y="56"/>
                    <a:pt x="2" y="56"/>
                    <a:pt x="2" y="56"/>
                  </a:cubicBezTo>
                  <a:close/>
                  <a:moveTo>
                    <a:pt x="9" y="39"/>
                  </a:moveTo>
                  <a:cubicBezTo>
                    <a:pt x="5" y="51"/>
                    <a:pt x="5" y="51"/>
                    <a:pt x="5" y="51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43" y="5"/>
                    <a:pt x="43" y="5"/>
                    <a:pt x="43" y="5"/>
                  </a:cubicBezTo>
                  <a:lnTo>
                    <a:pt x="9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0" name="Freeform 179">
              <a:extLst>
                <a:ext uri="{FF2B5EF4-FFF2-40B4-BE49-F238E27FC236}">
                  <a16:creationId xmlns:a16="http://schemas.microsoft.com/office/drawing/2014/main" id="{3C30D3B6-53A1-4B81-A80B-CD149F7046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6188" y="6932613"/>
              <a:ext cx="60325" cy="60325"/>
            </a:xfrm>
            <a:custGeom>
              <a:avLst/>
              <a:gdLst>
                <a:gd name="T0" fmla="*/ 14 w 16"/>
                <a:gd name="T1" fmla="*/ 16 h 16"/>
                <a:gd name="T2" fmla="*/ 12 w 16"/>
                <a:gd name="T3" fmla="*/ 15 h 16"/>
                <a:gd name="T4" fmla="*/ 1 w 16"/>
                <a:gd name="T5" fmla="*/ 3 h 16"/>
                <a:gd name="T6" fmla="*/ 1 w 16"/>
                <a:gd name="T7" fmla="*/ 0 h 16"/>
                <a:gd name="T8" fmla="*/ 3 w 16"/>
                <a:gd name="T9" fmla="*/ 0 h 16"/>
                <a:gd name="T10" fmla="*/ 15 w 16"/>
                <a:gd name="T11" fmla="*/ 12 h 16"/>
                <a:gd name="T12" fmla="*/ 15 w 16"/>
                <a:gd name="T13" fmla="*/ 15 h 16"/>
                <a:gd name="T14" fmla="*/ 14 w 16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6">
                  <a:moveTo>
                    <a:pt x="14" y="16"/>
                  </a:moveTo>
                  <a:cubicBezTo>
                    <a:pt x="13" y="16"/>
                    <a:pt x="13" y="15"/>
                    <a:pt x="12" y="15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1" y="0"/>
                    <a:pt x="3" y="0"/>
                    <a:pt x="3" y="0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3"/>
                    <a:pt x="16" y="14"/>
                    <a:pt x="15" y="15"/>
                  </a:cubicBezTo>
                  <a:cubicBezTo>
                    <a:pt x="15" y="15"/>
                    <a:pt x="14" y="16"/>
                    <a:pt x="1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1" name="Freeform 180">
              <a:extLst>
                <a:ext uri="{FF2B5EF4-FFF2-40B4-BE49-F238E27FC236}">
                  <a16:creationId xmlns:a16="http://schemas.microsoft.com/office/drawing/2014/main" id="{E72E813E-6D6B-44E1-9E56-14276EAFAD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2713" y="6762751"/>
              <a:ext cx="93663" cy="93663"/>
            </a:xfrm>
            <a:custGeom>
              <a:avLst/>
              <a:gdLst>
                <a:gd name="T0" fmla="*/ 14 w 25"/>
                <a:gd name="T1" fmla="*/ 25 h 25"/>
                <a:gd name="T2" fmla="*/ 12 w 25"/>
                <a:gd name="T3" fmla="*/ 24 h 25"/>
                <a:gd name="T4" fmla="*/ 0 w 25"/>
                <a:gd name="T5" fmla="*/ 12 h 25"/>
                <a:gd name="T6" fmla="*/ 0 w 25"/>
                <a:gd name="T7" fmla="*/ 9 h 25"/>
                <a:gd name="T8" fmla="*/ 9 w 25"/>
                <a:gd name="T9" fmla="*/ 1 h 25"/>
                <a:gd name="T10" fmla="*/ 12 w 25"/>
                <a:gd name="T11" fmla="*/ 1 h 25"/>
                <a:gd name="T12" fmla="*/ 24 w 25"/>
                <a:gd name="T13" fmla="*/ 12 h 25"/>
                <a:gd name="T14" fmla="*/ 24 w 25"/>
                <a:gd name="T15" fmla="*/ 15 h 25"/>
                <a:gd name="T16" fmla="*/ 15 w 25"/>
                <a:gd name="T17" fmla="*/ 24 h 25"/>
                <a:gd name="T18" fmla="*/ 14 w 25"/>
                <a:gd name="T19" fmla="*/ 25 h 25"/>
                <a:gd name="T20" fmla="*/ 5 w 25"/>
                <a:gd name="T21" fmla="*/ 11 h 25"/>
                <a:gd name="T22" fmla="*/ 14 w 25"/>
                <a:gd name="T23" fmla="*/ 20 h 25"/>
                <a:gd name="T24" fmla="*/ 20 w 25"/>
                <a:gd name="T25" fmla="*/ 14 h 25"/>
                <a:gd name="T26" fmla="*/ 11 w 25"/>
                <a:gd name="T27" fmla="*/ 5 h 25"/>
                <a:gd name="T28" fmla="*/ 5 w 25"/>
                <a:gd name="T29" fmla="*/ 1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" h="25">
                  <a:moveTo>
                    <a:pt x="14" y="25"/>
                  </a:moveTo>
                  <a:cubicBezTo>
                    <a:pt x="13" y="25"/>
                    <a:pt x="13" y="24"/>
                    <a:pt x="12" y="2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0"/>
                    <a:pt x="0" y="9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0" y="0"/>
                    <a:pt x="11" y="0"/>
                    <a:pt x="12" y="1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5" y="13"/>
                    <a:pt x="25" y="14"/>
                    <a:pt x="24" y="15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4" y="25"/>
                    <a:pt x="14" y="25"/>
                  </a:cubicBezTo>
                  <a:close/>
                  <a:moveTo>
                    <a:pt x="5" y="11"/>
                  </a:moveTo>
                  <a:cubicBezTo>
                    <a:pt x="14" y="20"/>
                    <a:pt x="14" y="20"/>
                    <a:pt x="14" y="20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1" y="5"/>
                    <a:pt x="11" y="5"/>
                    <a:pt x="11" y="5"/>
                  </a:cubicBezTo>
                  <a:lnTo>
                    <a:pt x="5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31" name="Freeform 213">
            <a:extLst>
              <a:ext uri="{FF2B5EF4-FFF2-40B4-BE49-F238E27FC236}">
                <a16:creationId xmlns:a16="http://schemas.microsoft.com/office/drawing/2014/main" id="{981CDD98-D6C2-4705-843D-1E22064C0887}"/>
              </a:ext>
            </a:extLst>
          </p:cNvPr>
          <p:cNvSpPr>
            <a:spLocks noEditPoints="1"/>
          </p:cNvSpPr>
          <p:nvPr/>
        </p:nvSpPr>
        <p:spPr bwMode="auto">
          <a:xfrm>
            <a:off x="5450507" y="5123466"/>
            <a:ext cx="377728" cy="377728"/>
          </a:xfrm>
          <a:custGeom>
            <a:avLst/>
            <a:gdLst>
              <a:gd name="T0" fmla="*/ 118 w 120"/>
              <a:gd name="T1" fmla="*/ 0 h 120"/>
              <a:gd name="T2" fmla="*/ 60 w 120"/>
              <a:gd name="T3" fmla="*/ 0 h 120"/>
              <a:gd name="T4" fmla="*/ 0 w 120"/>
              <a:gd name="T5" fmla="*/ 2 h 120"/>
              <a:gd name="T6" fmla="*/ 0 w 120"/>
              <a:gd name="T7" fmla="*/ 118 h 120"/>
              <a:gd name="T8" fmla="*/ 60 w 120"/>
              <a:gd name="T9" fmla="*/ 120 h 120"/>
              <a:gd name="T10" fmla="*/ 60 w 120"/>
              <a:gd name="T11" fmla="*/ 120 h 120"/>
              <a:gd name="T12" fmla="*/ 120 w 120"/>
              <a:gd name="T13" fmla="*/ 118 h 120"/>
              <a:gd name="T14" fmla="*/ 120 w 120"/>
              <a:gd name="T15" fmla="*/ 60 h 120"/>
              <a:gd name="T16" fmla="*/ 62 w 120"/>
              <a:gd name="T17" fmla="*/ 4 h 120"/>
              <a:gd name="T18" fmla="*/ 116 w 120"/>
              <a:gd name="T19" fmla="*/ 58 h 120"/>
              <a:gd name="T20" fmla="*/ 96 w 120"/>
              <a:gd name="T21" fmla="*/ 58 h 120"/>
              <a:gd name="T22" fmla="*/ 95 w 120"/>
              <a:gd name="T23" fmla="*/ 62 h 120"/>
              <a:gd name="T24" fmla="*/ 90 w 120"/>
              <a:gd name="T25" fmla="*/ 78 h 120"/>
              <a:gd name="T26" fmla="*/ 79 w 120"/>
              <a:gd name="T27" fmla="*/ 69 h 120"/>
              <a:gd name="T28" fmla="*/ 83 w 120"/>
              <a:gd name="T29" fmla="*/ 59 h 120"/>
              <a:gd name="T30" fmla="*/ 79 w 120"/>
              <a:gd name="T31" fmla="*/ 58 h 120"/>
              <a:gd name="T32" fmla="*/ 62 w 120"/>
              <a:gd name="T33" fmla="*/ 43 h 120"/>
              <a:gd name="T34" fmla="*/ 78 w 120"/>
              <a:gd name="T35" fmla="*/ 40 h 120"/>
              <a:gd name="T36" fmla="*/ 70 w 120"/>
              <a:gd name="T37" fmla="*/ 18 h 120"/>
              <a:gd name="T38" fmla="*/ 62 w 120"/>
              <a:gd name="T39" fmla="*/ 4 h 120"/>
              <a:gd name="T40" fmla="*/ 58 w 120"/>
              <a:gd name="T41" fmla="*/ 4 h 120"/>
              <a:gd name="T42" fmla="*/ 58 w 120"/>
              <a:gd name="T43" fmla="*/ 23 h 120"/>
              <a:gd name="T44" fmla="*/ 59 w 120"/>
              <a:gd name="T45" fmla="*/ 26 h 120"/>
              <a:gd name="T46" fmla="*/ 70 w 120"/>
              <a:gd name="T47" fmla="*/ 22 h 120"/>
              <a:gd name="T48" fmla="*/ 76 w 120"/>
              <a:gd name="T49" fmla="*/ 37 h 120"/>
              <a:gd name="T50" fmla="*/ 61 w 120"/>
              <a:gd name="T51" fmla="*/ 37 h 120"/>
              <a:gd name="T52" fmla="*/ 58 w 120"/>
              <a:gd name="T53" fmla="*/ 38 h 120"/>
              <a:gd name="T54" fmla="*/ 58 w 120"/>
              <a:gd name="T55" fmla="*/ 39 h 120"/>
              <a:gd name="T56" fmla="*/ 42 w 120"/>
              <a:gd name="T57" fmla="*/ 58 h 120"/>
              <a:gd name="T58" fmla="*/ 40 w 120"/>
              <a:gd name="T59" fmla="*/ 41 h 120"/>
              <a:gd name="T60" fmla="*/ 18 w 120"/>
              <a:gd name="T61" fmla="*/ 50 h 120"/>
              <a:gd name="T62" fmla="*/ 4 w 120"/>
              <a:gd name="T63" fmla="*/ 58 h 120"/>
              <a:gd name="T64" fmla="*/ 58 w 120"/>
              <a:gd name="T65" fmla="*/ 116 h 120"/>
              <a:gd name="T66" fmla="*/ 4 w 120"/>
              <a:gd name="T67" fmla="*/ 62 h 120"/>
              <a:gd name="T68" fmla="*/ 24 w 120"/>
              <a:gd name="T69" fmla="*/ 62 h 120"/>
              <a:gd name="T70" fmla="*/ 25 w 120"/>
              <a:gd name="T71" fmla="*/ 58 h 120"/>
              <a:gd name="T72" fmla="*/ 30 w 120"/>
              <a:gd name="T73" fmla="*/ 42 h 120"/>
              <a:gd name="T74" fmla="*/ 40 w 120"/>
              <a:gd name="T75" fmla="*/ 51 h 120"/>
              <a:gd name="T76" fmla="*/ 36 w 120"/>
              <a:gd name="T77" fmla="*/ 61 h 120"/>
              <a:gd name="T78" fmla="*/ 39 w 120"/>
              <a:gd name="T79" fmla="*/ 62 h 120"/>
              <a:gd name="T80" fmla="*/ 58 w 120"/>
              <a:gd name="T81" fmla="*/ 77 h 120"/>
              <a:gd name="T82" fmla="*/ 41 w 120"/>
              <a:gd name="T83" fmla="*/ 80 h 120"/>
              <a:gd name="T84" fmla="*/ 49 w 120"/>
              <a:gd name="T85" fmla="*/ 102 h 120"/>
              <a:gd name="T86" fmla="*/ 58 w 120"/>
              <a:gd name="T87" fmla="*/ 116 h 120"/>
              <a:gd name="T88" fmla="*/ 62 w 120"/>
              <a:gd name="T89" fmla="*/ 116 h 120"/>
              <a:gd name="T90" fmla="*/ 60 w 120"/>
              <a:gd name="T91" fmla="*/ 94 h 120"/>
              <a:gd name="T92" fmla="*/ 50 w 120"/>
              <a:gd name="T93" fmla="*/ 98 h 120"/>
              <a:gd name="T94" fmla="*/ 44 w 120"/>
              <a:gd name="T95" fmla="*/ 83 h 120"/>
              <a:gd name="T96" fmla="*/ 58 w 120"/>
              <a:gd name="T97" fmla="*/ 83 h 120"/>
              <a:gd name="T98" fmla="*/ 62 w 120"/>
              <a:gd name="T99" fmla="*/ 82 h 120"/>
              <a:gd name="T100" fmla="*/ 77 w 120"/>
              <a:gd name="T101" fmla="*/ 62 h 120"/>
              <a:gd name="T102" fmla="*/ 80 w 120"/>
              <a:gd name="T103" fmla="*/ 79 h 120"/>
              <a:gd name="T104" fmla="*/ 90 w 120"/>
              <a:gd name="T105" fmla="*/ 82 h 120"/>
              <a:gd name="T106" fmla="*/ 100 w 120"/>
              <a:gd name="T107" fmla="*/ 62 h 120"/>
              <a:gd name="T108" fmla="*/ 116 w 120"/>
              <a:gd name="T109" fmla="*/ 116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20" h="120">
                <a:moveTo>
                  <a:pt x="120" y="2"/>
                </a:moveTo>
                <a:cubicBezTo>
                  <a:pt x="120" y="1"/>
                  <a:pt x="119" y="0"/>
                  <a:pt x="118" y="0"/>
                </a:cubicBezTo>
                <a:cubicBezTo>
                  <a:pt x="60" y="0"/>
                  <a:pt x="60" y="0"/>
                  <a:pt x="60" y="0"/>
                </a:cubicBezTo>
                <a:cubicBezTo>
                  <a:pt x="60" y="0"/>
                  <a:pt x="60" y="0"/>
                  <a:pt x="60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118"/>
                  <a:pt x="0" y="118"/>
                  <a:pt x="0" y="118"/>
                </a:cubicBezTo>
                <a:cubicBezTo>
                  <a:pt x="0" y="119"/>
                  <a:pt x="1" y="120"/>
                  <a:pt x="2" y="120"/>
                </a:cubicBezTo>
                <a:cubicBezTo>
                  <a:pt x="60" y="120"/>
                  <a:pt x="60" y="120"/>
                  <a:pt x="60" y="120"/>
                </a:cubicBezTo>
                <a:cubicBezTo>
                  <a:pt x="60" y="120"/>
                  <a:pt x="60" y="120"/>
                  <a:pt x="60" y="120"/>
                </a:cubicBezTo>
                <a:cubicBezTo>
                  <a:pt x="60" y="120"/>
                  <a:pt x="60" y="120"/>
                  <a:pt x="60" y="120"/>
                </a:cubicBezTo>
                <a:cubicBezTo>
                  <a:pt x="118" y="120"/>
                  <a:pt x="118" y="120"/>
                  <a:pt x="118" y="120"/>
                </a:cubicBezTo>
                <a:cubicBezTo>
                  <a:pt x="119" y="120"/>
                  <a:pt x="120" y="119"/>
                  <a:pt x="120" y="118"/>
                </a:cubicBezTo>
                <a:cubicBezTo>
                  <a:pt x="120" y="60"/>
                  <a:pt x="120" y="60"/>
                  <a:pt x="120" y="60"/>
                </a:cubicBezTo>
                <a:cubicBezTo>
                  <a:pt x="120" y="60"/>
                  <a:pt x="120" y="60"/>
                  <a:pt x="120" y="60"/>
                </a:cubicBezTo>
                <a:lnTo>
                  <a:pt x="120" y="2"/>
                </a:lnTo>
                <a:close/>
                <a:moveTo>
                  <a:pt x="62" y="4"/>
                </a:moveTo>
                <a:cubicBezTo>
                  <a:pt x="116" y="4"/>
                  <a:pt x="116" y="4"/>
                  <a:pt x="116" y="4"/>
                </a:cubicBezTo>
                <a:cubicBezTo>
                  <a:pt x="116" y="58"/>
                  <a:pt x="116" y="58"/>
                  <a:pt x="116" y="58"/>
                </a:cubicBezTo>
                <a:cubicBezTo>
                  <a:pt x="98" y="58"/>
                  <a:pt x="98" y="58"/>
                  <a:pt x="98" y="58"/>
                </a:cubicBezTo>
                <a:cubicBezTo>
                  <a:pt x="96" y="58"/>
                  <a:pt x="96" y="58"/>
                  <a:pt x="96" y="58"/>
                </a:cubicBezTo>
                <a:cubicBezTo>
                  <a:pt x="95" y="58"/>
                  <a:pt x="94" y="59"/>
                  <a:pt x="94" y="59"/>
                </a:cubicBezTo>
                <a:cubicBezTo>
                  <a:pt x="94" y="60"/>
                  <a:pt x="94" y="61"/>
                  <a:pt x="95" y="62"/>
                </a:cubicBezTo>
                <a:cubicBezTo>
                  <a:pt x="97" y="64"/>
                  <a:pt x="98" y="67"/>
                  <a:pt x="98" y="70"/>
                </a:cubicBezTo>
                <a:cubicBezTo>
                  <a:pt x="97" y="74"/>
                  <a:pt x="94" y="78"/>
                  <a:pt x="90" y="78"/>
                </a:cubicBezTo>
                <a:cubicBezTo>
                  <a:pt x="87" y="78"/>
                  <a:pt x="84" y="78"/>
                  <a:pt x="82" y="76"/>
                </a:cubicBezTo>
                <a:cubicBezTo>
                  <a:pt x="80" y="74"/>
                  <a:pt x="79" y="71"/>
                  <a:pt x="79" y="69"/>
                </a:cubicBezTo>
                <a:cubicBezTo>
                  <a:pt x="79" y="66"/>
                  <a:pt x="81" y="63"/>
                  <a:pt x="83" y="62"/>
                </a:cubicBezTo>
                <a:cubicBezTo>
                  <a:pt x="83" y="61"/>
                  <a:pt x="84" y="60"/>
                  <a:pt x="83" y="59"/>
                </a:cubicBezTo>
                <a:cubicBezTo>
                  <a:pt x="83" y="59"/>
                  <a:pt x="82" y="58"/>
                  <a:pt x="82" y="58"/>
                </a:cubicBezTo>
                <a:cubicBezTo>
                  <a:pt x="79" y="58"/>
                  <a:pt x="79" y="58"/>
                  <a:pt x="79" y="58"/>
                </a:cubicBezTo>
                <a:cubicBezTo>
                  <a:pt x="62" y="58"/>
                  <a:pt x="62" y="58"/>
                  <a:pt x="62" y="58"/>
                </a:cubicBezTo>
                <a:cubicBezTo>
                  <a:pt x="62" y="43"/>
                  <a:pt x="62" y="43"/>
                  <a:pt x="62" y="43"/>
                </a:cubicBezTo>
                <a:cubicBezTo>
                  <a:pt x="64" y="44"/>
                  <a:pt x="66" y="44"/>
                  <a:pt x="69" y="44"/>
                </a:cubicBezTo>
                <a:cubicBezTo>
                  <a:pt x="72" y="44"/>
                  <a:pt x="76" y="43"/>
                  <a:pt x="78" y="40"/>
                </a:cubicBezTo>
                <a:cubicBezTo>
                  <a:pt x="81" y="37"/>
                  <a:pt x="82" y="33"/>
                  <a:pt x="82" y="30"/>
                </a:cubicBezTo>
                <a:cubicBezTo>
                  <a:pt x="81" y="24"/>
                  <a:pt x="76" y="19"/>
                  <a:pt x="70" y="18"/>
                </a:cubicBezTo>
                <a:cubicBezTo>
                  <a:pt x="67" y="18"/>
                  <a:pt x="64" y="18"/>
                  <a:pt x="62" y="20"/>
                </a:cubicBezTo>
                <a:lnTo>
                  <a:pt x="62" y="4"/>
                </a:lnTo>
                <a:close/>
                <a:moveTo>
                  <a:pt x="4" y="4"/>
                </a:moveTo>
                <a:cubicBezTo>
                  <a:pt x="58" y="4"/>
                  <a:pt x="58" y="4"/>
                  <a:pt x="58" y="4"/>
                </a:cubicBezTo>
                <a:cubicBezTo>
                  <a:pt x="58" y="23"/>
                  <a:pt x="58" y="23"/>
                  <a:pt x="58" y="23"/>
                </a:cubicBezTo>
                <a:cubicBezTo>
                  <a:pt x="58" y="23"/>
                  <a:pt x="58" y="23"/>
                  <a:pt x="58" y="23"/>
                </a:cubicBezTo>
                <a:cubicBezTo>
                  <a:pt x="58" y="24"/>
                  <a:pt x="58" y="24"/>
                  <a:pt x="58" y="24"/>
                </a:cubicBezTo>
                <a:cubicBezTo>
                  <a:pt x="58" y="25"/>
                  <a:pt x="58" y="26"/>
                  <a:pt x="59" y="26"/>
                </a:cubicBezTo>
                <a:cubicBezTo>
                  <a:pt x="60" y="26"/>
                  <a:pt x="61" y="26"/>
                  <a:pt x="61" y="25"/>
                </a:cubicBezTo>
                <a:cubicBezTo>
                  <a:pt x="63" y="23"/>
                  <a:pt x="67" y="21"/>
                  <a:pt x="70" y="22"/>
                </a:cubicBezTo>
                <a:cubicBezTo>
                  <a:pt x="74" y="22"/>
                  <a:pt x="77" y="26"/>
                  <a:pt x="78" y="30"/>
                </a:cubicBezTo>
                <a:cubicBezTo>
                  <a:pt x="78" y="33"/>
                  <a:pt x="77" y="35"/>
                  <a:pt x="76" y="37"/>
                </a:cubicBezTo>
                <a:cubicBezTo>
                  <a:pt x="74" y="39"/>
                  <a:pt x="71" y="40"/>
                  <a:pt x="69" y="40"/>
                </a:cubicBezTo>
                <a:cubicBezTo>
                  <a:pt x="66" y="40"/>
                  <a:pt x="63" y="39"/>
                  <a:pt x="61" y="37"/>
                </a:cubicBezTo>
                <a:cubicBezTo>
                  <a:pt x="61" y="36"/>
                  <a:pt x="60" y="36"/>
                  <a:pt x="59" y="36"/>
                </a:cubicBezTo>
                <a:cubicBezTo>
                  <a:pt x="58" y="37"/>
                  <a:pt x="58" y="37"/>
                  <a:pt x="58" y="38"/>
                </a:cubicBezTo>
                <a:cubicBezTo>
                  <a:pt x="58" y="39"/>
                  <a:pt x="58" y="39"/>
                  <a:pt x="58" y="39"/>
                </a:cubicBezTo>
                <a:cubicBezTo>
                  <a:pt x="58" y="39"/>
                  <a:pt x="58" y="39"/>
                  <a:pt x="58" y="39"/>
                </a:cubicBezTo>
                <a:cubicBezTo>
                  <a:pt x="58" y="58"/>
                  <a:pt x="58" y="58"/>
                  <a:pt x="58" y="58"/>
                </a:cubicBezTo>
                <a:cubicBezTo>
                  <a:pt x="42" y="58"/>
                  <a:pt x="42" y="58"/>
                  <a:pt x="42" y="58"/>
                </a:cubicBezTo>
                <a:cubicBezTo>
                  <a:pt x="43" y="56"/>
                  <a:pt x="44" y="54"/>
                  <a:pt x="44" y="51"/>
                </a:cubicBezTo>
                <a:cubicBezTo>
                  <a:pt x="44" y="47"/>
                  <a:pt x="43" y="44"/>
                  <a:pt x="40" y="41"/>
                </a:cubicBezTo>
                <a:cubicBezTo>
                  <a:pt x="37" y="39"/>
                  <a:pt x="33" y="38"/>
                  <a:pt x="29" y="38"/>
                </a:cubicBezTo>
                <a:cubicBezTo>
                  <a:pt x="23" y="39"/>
                  <a:pt x="18" y="43"/>
                  <a:pt x="18" y="50"/>
                </a:cubicBezTo>
                <a:cubicBezTo>
                  <a:pt x="17" y="53"/>
                  <a:pt x="18" y="56"/>
                  <a:pt x="19" y="58"/>
                </a:cubicBezTo>
                <a:cubicBezTo>
                  <a:pt x="4" y="58"/>
                  <a:pt x="4" y="58"/>
                  <a:pt x="4" y="58"/>
                </a:cubicBezTo>
                <a:lnTo>
                  <a:pt x="4" y="4"/>
                </a:lnTo>
                <a:close/>
                <a:moveTo>
                  <a:pt x="58" y="116"/>
                </a:moveTo>
                <a:cubicBezTo>
                  <a:pt x="4" y="116"/>
                  <a:pt x="4" y="116"/>
                  <a:pt x="4" y="116"/>
                </a:cubicBezTo>
                <a:cubicBezTo>
                  <a:pt x="4" y="62"/>
                  <a:pt x="4" y="62"/>
                  <a:pt x="4" y="62"/>
                </a:cubicBezTo>
                <a:cubicBezTo>
                  <a:pt x="23" y="62"/>
                  <a:pt x="23" y="62"/>
                  <a:pt x="23" y="62"/>
                </a:cubicBezTo>
                <a:cubicBezTo>
                  <a:pt x="24" y="62"/>
                  <a:pt x="24" y="62"/>
                  <a:pt x="24" y="62"/>
                </a:cubicBezTo>
                <a:cubicBezTo>
                  <a:pt x="25" y="62"/>
                  <a:pt x="25" y="61"/>
                  <a:pt x="26" y="61"/>
                </a:cubicBezTo>
                <a:cubicBezTo>
                  <a:pt x="26" y="60"/>
                  <a:pt x="26" y="59"/>
                  <a:pt x="25" y="58"/>
                </a:cubicBezTo>
                <a:cubicBezTo>
                  <a:pt x="22" y="56"/>
                  <a:pt x="21" y="53"/>
                  <a:pt x="22" y="50"/>
                </a:cubicBezTo>
                <a:cubicBezTo>
                  <a:pt x="22" y="46"/>
                  <a:pt x="26" y="42"/>
                  <a:pt x="30" y="42"/>
                </a:cubicBezTo>
                <a:cubicBezTo>
                  <a:pt x="32" y="42"/>
                  <a:pt x="35" y="42"/>
                  <a:pt x="37" y="44"/>
                </a:cubicBezTo>
                <a:cubicBezTo>
                  <a:pt x="39" y="46"/>
                  <a:pt x="40" y="49"/>
                  <a:pt x="40" y="51"/>
                </a:cubicBezTo>
                <a:cubicBezTo>
                  <a:pt x="40" y="54"/>
                  <a:pt x="39" y="57"/>
                  <a:pt x="37" y="58"/>
                </a:cubicBezTo>
                <a:cubicBezTo>
                  <a:pt x="36" y="59"/>
                  <a:pt x="36" y="60"/>
                  <a:pt x="36" y="61"/>
                </a:cubicBezTo>
                <a:cubicBezTo>
                  <a:pt x="36" y="61"/>
                  <a:pt x="37" y="62"/>
                  <a:pt x="38" y="62"/>
                </a:cubicBezTo>
                <a:cubicBezTo>
                  <a:pt x="39" y="62"/>
                  <a:pt x="39" y="62"/>
                  <a:pt x="39" y="62"/>
                </a:cubicBezTo>
                <a:cubicBezTo>
                  <a:pt x="58" y="62"/>
                  <a:pt x="58" y="62"/>
                  <a:pt x="58" y="62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6"/>
                  <a:pt x="53" y="76"/>
                  <a:pt x="51" y="76"/>
                </a:cubicBezTo>
                <a:cubicBezTo>
                  <a:pt x="47" y="76"/>
                  <a:pt x="44" y="77"/>
                  <a:pt x="41" y="80"/>
                </a:cubicBezTo>
                <a:cubicBezTo>
                  <a:pt x="39" y="83"/>
                  <a:pt x="37" y="87"/>
                  <a:pt x="38" y="90"/>
                </a:cubicBezTo>
                <a:cubicBezTo>
                  <a:pt x="38" y="96"/>
                  <a:pt x="43" y="101"/>
                  <a:pt x="49" y="102"/>
                </a:cubicBezTo>
                <a:cubicBezTo>
                  <a:pt x="52" y="102"/>
                  <a:pt x="55" y="102"/>
                  <a:pt x="58" y="100"/>
                </a:cubicBezTo>
                <a:lnTo>
                  <a:pt x="58" y="116"/>
                </a:lnTo>
                <a:close/>
                <a:moveTo>
                  <a:pt x="116" y="116"/>
                </a:moveTo>
                <a:cubicBezTo>
                  <a:pt x="62" y="116"/>
                  <a:pt x="62" y="116"/>
                  <a:pt x="62" y="116"/>
                </a:cubicBezTo>
                <a:cubicBezTo>
                  <a:pt x="62" y="96"/>
                  <a:pt x="62" y="96"/>
                  <a:pt x="62" y="96"/>
                </a:cubicBezTo>
                <a:cubicBezTo>
                  <a:pt x="62" y="95"/>
                  <a:pt x="61" y="94"/>
                  <a:pt x="60" y="94"/>
                </a:cubicBezTo>
                <a:cubicBezTo>
                  <a:pt x="60" y="94"/>
                  <a:pt x="59" y="94"/>
                  <a:pt x="58" y="95"/>
                </a:cubicBezTo>
                <a:cubicBezTo>
                  <a:pt x="56" y="97"/>
                  <a:pt x="53" y="99"/>
                  <a:pt x="50" y="98"/>
                </a:cubicBezTo>
                <a:cubicBezTo>
                  <a:pt x="46" y="98"/>
                  <a:pt x="42" y="94"/>
                  <a:pt x="42" y="90"/>
                </a:cubicBezTo>
                <a:cubicBezTo>
                  <a:pt x="41" y="87"/>
                  <a:pt x="42" y="85"/>
                  <a:pt x="44" y="83"/>
                </a:cubicBezTo>
                <a:cubicBezTo>
                  <a:pt x="46" y="81"/>
                  <a:pt x="48" y="80"/>
                  <a:pt x="51" y="80"/>
                </a:cubicBezTo>
                <a:cubicBezTo>
                  <a:pt x="54" y="80"/>
                  <a:pt x="56" y="81"/>
                  <a:pt x="58" y="83"/>
                </a:cubicBezTo>
                <a:cubicBezTo>
                  <a:pt x="59" y="84"/>
                  <a:pt x="60" y="84"/>
                  <a:pt x="60" y="84"/>
                </a:cubicBezTo>
                <a:cubicBezTo>
                  <a:pt x="61" y="83"/>
                  <a:pt x="62" y="83"/>
                  <a:pt x="62" y="82"/>
                </a:cubicBezTo>
                <a:cubicBezTo>
                  <a:pt x="62" y="62"/>
                  <a:pt x="62" y="62"/>
                  <a:pt x="62" y="62"/>
                </a:cubicBezTo>
                <a:cubicBezTo>
                  <a:pt x="77" y="62"/>
                  <a:pt x="77" y="62"/>
                  <a:pt x="77" y="62"/>
                </a:cubicBezTo>
                <a:cubicBezTo>
                  <a:pt x="76" y="64"/>
                  <a:pt x="75" y="66"/>
                  <a:pt x="75" y="69"/>
                </a:cubicBezTo>
                <a:cubicBezTo>
                  <a:pt x="75" y="73"/>
                  <a:pt x="77" y="76"/>
                  <a:pt x="80" y="79"/>
                </a:cubicBezTo>
                <a:cubicBezTo>
                  <a:pt x="82" y="81"/>
                  <a:pt x="85" y="82"/>
                  <a:pt x="89" y="82"/>
                </a:cubicBezTo>
                <a:cubicBezTo>
                  <a:pt x="89" y="82"/>
                  <a:pt x="90" y="82"/>
                  <a:pt x="90" y="82"/>
                </a:cubicBezTo>
                <a:cubicBezTo>
                  <a:pt x="96" y="81"/>
                  <a:pt x="101" y="77"/>
                  <a:pt x="102" y="70"/>
                </a:cubicBezTo>
                <a:cubicBezTo>
                  <a:pt x="102" y="67"/>
                  <a:pt x="102" y="64"/>
                  <a:pt x="100" y="62"/>
                </a:cubicBezTo>
                <a:cubicBezTo>
                  <a:pt x="116" y="62"/>
                  <a:pt x="116" y="62"/>
                  <a:pt x="116" y="62"/>
                </a:cubicBezTo>
                <a:lnTo>
                  <a:pt x="116" y="116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D79FF32-91DD-492C-B8A6-03B09C320B36}"/>
              </a:ext>
            </a:extLst>
          </p:cNvPr>
          <p:cNvGrpSpPr/>
          <p:nvPr/>
        </p:nvGrpSpPr>
        <p:grpSpPr>
          <a:xfrm>
            <a:off x="6357350" y="5110827"/>
            <a:ext cx="402975" cy="402973"/>
            <a:chOff x="8464551" y="5737225"/>
            <a:chExt cx="358775" cy="358775"/>
          </a:xfrm>
          <a:solidFill>
            <a:schemeClr val="accent1">
              <a:lumMod val="75000"/>
            </a:schemeClr>
          </a:solidFill>
        </p:grpSpPr>
        <p:sp>
          <p:nvSpPr>
            <p:cNvPr id="39" name="Freeform 217">
              <a:extLst>
                <a:ext uri="{FF2B5EF4-FFF2-40B4-BE49-F238E27FC236}">
                  <a16:creationId xmlns:a16="http://schemas.microsoft.com/office/drawing/2014/main" id="{FD5B137F-0F27-4A3D-9CF8-D70A3A27EC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64551" y="5919788"/>
              <a:ext cx="85725" cy="176212"/>
            </a:xfrm>
            <a:custGeom>
              <a:avLst/>
              <a:gdLst>
                <a:gd name="T0" fmla="*/ 12 w 23"/>
                <a:gd name="T1" fmla="*/ 47 h 47"/>
                <a:gd name="T2" fmla="*/ 0 w 23"/>
                <a:gd name="T3" fmla="*/ 36 h 47"/>
                <a:gd name="T4" fmla="*/ 0 w 23"/>
                <a:gd name="T5" fmla="*/ 6 h 47"/>
                <a:gd name="T6" fmla="*/ 6 w 23"/>
                <a:gd name="T7" fmla="*/ 0 h 47"/>
                <a:gd name="T8" fmla="*/ 22 w 23"/>
                <a:gd name="T9" fmla="*/ 0 h 47"/>
                <a:gd name="T10" fmla="*/ 23 w 23"/>
                <a:gd name="T11" fmla="*/ 2 h 47"/>
                <a:gd name="T12" fmla="*/ 23 w 23"/>
                <a:gd name="T13" fmla="*/ 36 h 47"/>
                <a:gd name="T14" fmla="*/ 12 w 23"/>
                <a:gd name="T15" fmla="*/ 47 h 47"/>
                <a:gd name="T16" fmla="*/ 6 w 23"/>
                <a:gd name="T17" fmla="*/ 3 h 47"/>
                <a:gd name="T18" fmla="*/ 3 w 23"/>
                <a:gd name="T19" fmla="*/ 6 h 47"/>
                <a:gd name="T20" fmla="*/ 3 w 23"/>
                <a:gd name="T21" fmla="*/ 36 h 47"/>
                <a:gd name="T22" fmla="*/ 12 w 23"/>
                <a:gd name="T23" fmla="*/ 44 h 47"/>
                <a:gd name="T24" fmla="*/ 20 w 23"/>
                <a:gd name="T25" fmla="*/ 36 h 47"/>
                <a:gd name="T26" fmla="*/ 20 w 23"/>
                <a:gd name="T27" fmla="*/ 3 h 47"/>
                <a:gd name="T28" fmla="*/ 6 w 23"/>
                <a:gd name="T29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" h="47">
                  <a:moveTo>
                    <a:pt x="12" y="47"/>
                  </a:moveTo>
                  <a:cubicBezTo>
                    <a:pt x="6" y="47"/>
                    <a:pt x="0" y="42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3" y="1"/>
                    <a:pt x="23" y="2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42"/>
                    <a:pt x="18" y="47"/>
                    <a:pt x="12" y="47"/>
                  </a:cubicBezTo>
                  <a:close/>
                  <a:moveTo>
                    <a:pt x="6" y="3"/>
                  </a:moveTo>
                  <a:cubicBezTo>
                    <a:pt x="5" y="3"/>
                    <a:pt x="3" y="5"/>
                    <a:pt x="3" y="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41"/>
                    <a:pt x="7" y="44"/>
                    <a:pt x="12" y="44"/>
                  </a:cubicBezTo>
                  <a:cubicBezTo>
                    <a:pt x="17" y="44"/>
                    <a:pt x="20" y="41"/>
                    <a:pt x="20" y="36"/>
                  </a:cubicBezTo>
                  <a:cubicBezTo>
                    <a:pt x="20" y="3"/>
                    <a:pt x="20" y="3"/>
                    <a:pt x="20" y="3"/>
                  </a:cubicBez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0" name="Freeform 218">
              <a:extLst>
                <a:ext uri="{FF2B5EF4-FFF2-40B4-BE49-F238E27FC236}">
                  <a16:creationId xmlns:a16="http://schemas.microsoft.com/office/drawing/2014/main" id="{60B2E36A-8FE8-477F-8C89-5C47ED8F9F2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9001" y="5737225"/>
              <a:ext cx="314325" cy="358775"/>
            </a:xfrm>
            <a:custGeom>
              <a:avLst/>
              <a:gdLst>
                <a:gd name="T0" fmla="*/ 70 w 83"/>
                <a:gd name="T1" fmla="*/ 95 h 95"/>
                <a:gd name="T2" fmla="*/ 2 w 83"/>
                <a:gd name="T3" fmla="*/ 95 h 95"/>
                <a:gd name="T4" fmla="*/ 0 w 83"/>
                <a:gd name="T5" fmla="*/ 94 h 95"/>
                <a:gd name="T6" fmla="*/ 2 w 83"/>
                <a:gd name="T7" fmla="*/ 92 h 95"/>
                <a:gd name="T8" fmla="*/ 70 w 83"/>
                <a:gd name="T9" fmla="*/ 92 h 95"/>
                <a:gd name="T10" fmla="*/ 80 w 83"/>
                <a:gd name="T11" fmla="*/ 82 h 95"/>
                <a:gd name="T12" fmla="*/ 80 w 83"/>
                <a:gd name="T13" fmla="*/ 6 h 95"/>
                <a:gd name="T14" fmla="*/ 78 w 83"/>
                <a:gd name="T15" fmla="*/ 3 h 95"/>
                <a:gd name="T16" fmla="*/ 14 w 83"/>
                <a:gd name="T17" fmla="*/ 3 h 95"/>
                <a:gd name="T18" fmla="*/ 11 w 83"/>
                <a:gd name="T19" fmla="*/ 6 h 95"/>
                <a:gd name="T20" fmla="*/ 11 w 83"/>
                <a:gd name="T21" fmla="*/ 82 h 95"/>
                <a:gd name="T22" fmla="*/ 10 w 83"/>
                <a:gd name="T23" fmla="*/ 83 h 95"/>
                <a:gd name="T24" fmla="*/ 8 w 83"/>
                <a:gd name="T25" fmla="*/ 82 h 95"/>
                <a:gd name="T26" fmla="*/ 8 w 83"/>
                <a:gd name="T27" fmla="*/ 6 h 95"/>
                <a:gd name="T28" fmla="*/ 14 w 83"/>
                <a:gd name="T29" fmla="*/ 0 h 95"/>
                <a:gd name="T30" fmla="*/ 78 w 83"/>
                <a:gd name="T31" fmla="*/ 0 h 95"/>
                <a:gd name="T32" fmla="*/ 83 w 83"/>
                <a:gd name="T33" fmla="*/ 6 h 95"/>
                <a:gd name="T34" fmla="*/ 83 w 83"/>
                <a:gd name="T35" fmla="*/ 82 h 95"/>
                <a:gd name="T36" fmla="*/ 70 w 83"/>
                <a:gd name="T37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3" h="95">
                  <a:moveTo>
                    <a:pt x="70" y="95"/>
                  </a:moveTo>
                  <a:cubicBezTo>
                    <a:pt x="2" y="95"/>
                    <a:pt x="2" y="95"/>
                    <a:pt x="2" y="95"/>
                  </a:cubicBezTo>
                  <a:cubicBezTo>
                    <a:pt x="1" y="95"/>
                    <a:pt x="0" y="95"/>
                    <a:pt x="0" y="94"/>
                  </a:cubicBezTo>
                  <a:cubicBezTo>
                    <a:pt x="0" y="93"/>
                    <a:pt x="1" y="92"/>
                    <a:pt x="2" y="92"/>
                  </a:cubicBezTo>
                  <a:cubicBezTo>
                    <a:pt x="70" y="92"/>
                    <a:pt x="70" y="92"/>
                    <a:pt x="70" y="92"/>
                  </a:cubicBezTo>
                  <a:cubicBezTo>
                    <a:pt x="76" y="92"/>
                    <a:pt x="80" y="88"/>
                    <a:pt x="80" y="82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80" y="5"/>
                    <a:pt x="79" y="3"/>
                    <a:pt x="78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3" y="3"/>
                    <a:pt x="11" y="5"/>
                    <a:pt x="11" y="6"/>
                  </a:cubicBezTo>
                  <a:cubicBezTo>
                    <a:pt x="11" y="82"/>
                    <a:pt x="11" y="82"/>
                    <a:pt x="11" y="82"/>
                  </a:cubicBezTo>
                  <a:cubicBezTo>
                    <a:pt x="11" y="83"/>
                    <a:pt x="11" y="83"/>
                    <a:pt x="10" y="83"/>
                  </a:cubicBezTo>
                  <a:cubicBezTo>
                    <a:pt x="9" y="83"/>
                    <a:pt x="8" y="83"/>
                    <a:pt x="8" y="82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3"/>
                    <a:pt x="11" y="0"/>
                    <a:pt x="14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3" y="3"/>
                    <a:pt x="83" y="6"/>
                  </a:cubicBezTo>
                  <a:cubicBezTo>
                    <a:pt x="83" y="82"/>
                    <a:pt x="83" y="82"/>
                    <a:pt x="83" y="82"/>
                  </a:cubicBezTo>
                  <a:cubicBezTo>
                    <a:pt x="83" y="89"/>
                    <a:pt x="77" y="95"/>
                    <a:pt x="70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1" name="Freeform 219">
              <a:extLst>
                <a:ext uri="{FF2B5EF4-FFF2-40B4-BE49-F238E27FC236}">
                  <a16:creationId xmlns:a16="http://schemas.microsoft.com/office/drawing/2014/main" id="{74D9E2C5-EDAC-450E-B14B-9ED0B7FF6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9488" y="5980113"/>
              <a:ext cx="163513" cy="11112"/>
            </a:xfrm>
            <a:custGeom>
              <a:avLst/>
              <a:gdLst>
                <a:gd name="T0" fmla="*/ 42 w 43"/>
                <a:gd name="T1" fmla="*/ 3 h 3"/>
                <a:gd name="T2" fmla="*/ 2 w 43"/>
                <a:gd name="T3" fmla="*/ 3 h 3"/>
                <a:gd name="T4" fmla="*/ 0 w 43"/>
                <a:gd name="T5" fmla="*/ 2 h 3"/>
                <a:gd name="T6" fmla="*/ 2 w 43"/>
                <a:gd name="T7" fmla="*/ 0 h 3"/>
                <a:gd name="T8" fmla="*/ 42 w 43"/>
                <a:gd name="T9" fmla="*/ 0 h 3"/>
                <a:gd name="T10" fmla="*/ 43 w 43"/>
                <a:gd name="T11" fmla="*/ 2 h 3"/>
                <a:gd name="T12" fmla="*/ 42 w 43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3">
                  <a:moveTo>
                    <a:pt x="42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3" y="0"/>
                    <a:pt x="43" y="1"/>
                    <a:pt x="43" y="2"/>
                  </a:cubicBezTo>
                  <a:cubicBezTo>
                    <a:pt x="43" y="3"/>
                    <a:pt x="43" y="3"/>
                    <a:pt x="4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2" name="Freeform 220">
              <a:extLst>
                <a:ext uri="{FF2B5EF4-FFF2-40B4-BE49-F238E27FC236}">
                  <a16:creationId xmlns:a16="http://schemas.microsoft.com/office/drawing/2014/main" id="{FDA0F431-8852-4E7A-805F-03F008D46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9488" y="6024563"/>
              <a:ext cx="163513" cy="11112"/>
            </a:xfrm>
            <a:custGeom>
              <a:avLst/>
              <a:gdLst>
                <a:gd name="T0" fmla="*/ 42 w 43"/>
                <a:gd name="T1" fmla="*/ 3 h 3"/>
                <a:gd name="T2" fmla="*/ 2 w 43"/>
                <a:gd name="T3" fmla="*/ 3 h 3"/>
                <a:gd name="T4" fmla="*/ 0 w 43"/>
                <a:gd name="T5" fmla="*/ 2 h 3"/>
                <a:gd name="T6" fmla="*/ 2 w 43"/>
                <a:gd name="T7" fmla="*/ 0 h 3"/>
                <a:gd name="T8" fmla="*/ 42 w 43"/>
                <a:gd name="T9" fmla="*/ 0 h 3"/>
                <a:gd name="T10" fmla="*/ 43 w 43"/>
                <a:gd name="T11" fmla="*/ 2 h 3"/>
                <a:gd name="T12" fmla="*/ 42 w 43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3">
                  <a:moveTo>
                    <a:pt x="42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3" y="0"/>
                    <a:pt x="43" y="1"/>
                    <a:pt x="43" y="2"/>
                  </a:cubicBezTo>
                  <a:cubicBezTo>
                    <a:pt x="43" y="3"/>
                    <a:pt x="43" y="3"/>
                    <a:pt x="4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3" name="Freeform 221">
              <a:extLst>
                <a:ext uri="{FF2B5EF4-FFF2-40B4-BE49-F238E27FC236}">
                  <a16:creationId xmlns:a16="http://schemas.microsoft.com/office/drawing/2014/main" id="{8E338E98-0C5B-4370-902E-B67294D075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85201" y="5797550"/>
              <a:ext cx="192088" cy="117475"/>
            </a:xfrm>
            <a:custGeom>
              <a:avLst/>
              <a:gdLst>
                <a:gd name="T0" fmla="*/ 50 w 51"/>
                <a:gd name="T1" fmla="*/ 31 h 31"/>
                <a:gd name="T2" fmla="*/ 2 w 51"/>
                <a:gd name="T3" fmla="*/ 31 h 31"/>
                <a:gd name="T4" fmla="*/ 0 w 51"/>
                <a:gd name="T5" fmla="*/ 30 h 31"/>
                <a:gd name="T6" fmla="*/ 0 w 51"/>
                <a:gd name="T7" fmla="*/ 2 h 31"/>
                <a:gd name="T8" fmla="*/ 2 w 51"/>
                <a:gd name="T9" fmla="*/ 0 h 31"/>
                <a:gd name="T10" fmla="*/ 50 w 51"/>
                <a:gd name="T11" fmla="*/ 0 h 31"/>
                <a:gd name="T12" fmla="*/ 51 w 51"/>
                <a:gd name="T13" fmla="*/ 2 h 31"/>
                <a:gd name="T14" fmla="*/ 51 w 51"/>
                <a:gd name="T15" fmla="*/ 30 h 31"/>
                <a:gd name="T16" fmla="*/ 50 w 51"/>
                <a:gd name="T17" fmla="*/ 31 h 31"/>
                <a:gd name="T18" fmla="*/ 3 w 51"/>
                <a:gd name="T19" fmla="*/ 28 h 31"/>
                <a:gd name="T20" fmla="*/ 48 w 51"/>
                <a:gd name="T21" fmla="*/ 28 h 31"/>
                <a:gd name="T22" fmla="*/ 48 w 51"/>
                <a:gd name="T23" fmla="*/ 3 h 31"/>
                <a:gd name="T24" fmla="*/ 3 w 51"/>
                <a:gd name="T25" fmla="*/ 3 h 31"/>
                <a:gd name="T26" fmla="*/ 3 w 51"/>
                <a:gd name="T27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31">
                  <a:moveTo>
                    <a:pt x="50" y="31"/>
                  </a:moveTo>
                  <a:cubicBezTo>
                    <a:pt x="2" y="31"/>
                    <a:pt x="2" y="31"/>
                    <a:pt x="2" y="31"/>
                  </a:cubicBezTo>
                  <a:cubicBezTo>
                    <a:pt x="1" y="31"/>
                    <a:pt x="0" y="31"/>
                    <a:pt x="0" y="3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1" y="0"/>
                    <a:pt x="51" y="1"/>
                    <a:pt x="51" y="2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1"/>
                    <a:pt x="51" y="31"/>
                    <a:pt x="50" y="31"/>
                  </a:cubicBezTo>
                  <a:close/>
                  <a:moveTo>
                    <a:pt x="3" y="28"/>
                  </a:moveTo>
                  <a:cubicBezTo>
                    <a:pt x="48" y="28"/>
                    <a:pt x="48" y="28"/>
                    <a:pt x="48" y="28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3" y="3"/>
                    <a:pt x="3" y="3"/>
                    <a:pt x="3" y="3"/>
                  </a:cubicBezTo>
                  <a:lnTo>
                    <a:pt x="3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33" name="TextBox 76">
            <a:extLst>
              <a:ext uri="{FF2B5EF4-FFF2-40B4-BE49-F238E27FC236}">
                <a16:creationId xmlns:a16="http://schemas.microsoft.com/office/drawing/2014/main" id="{FF52E92C-273C-484E-8DF7-84BFE98CF29A}"/>
              </a:ext>
            </a:extLst>
          </p:cNvPr>
          <p:cNvSpPr txBox="1"/>
          <p:nvPr/>
        </p:nvSpPr>
        <p:spPr>
          <a:xfrm>
            <a:off x="3277268" y="5543553"/>
            <a:ext cx="9186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Playbooks</a:t>
            </a:r>
          </a:p>
        </p:txBody>
      </p:sp>
      <p:sp>
        <p:nvSpPr>
          <p:cNvPr id="34" name="TextBox 77">
            <a:extLst>
              <a:ext uri="{FF2B5EF4-FFF2-40B4-BE49-F238E27FC236}">
                <a16:creationId xmlns:a16="http://schemas.microsoft.com/office/drawing/2014/main" id="{72B45707-6C9B-4C97-B249-C97113E8A0BD}"/>
              </a:ext>
            </a:extLst>
          </p:cNvPr>
          <p:cNvSpPr txBox="1"/>
          <p:nvPr/>
        </p:nvSpPr>
        <p:spPr>
          <a:xfrm>
            <a:off x="4175165" y="5540209"/>
            <a:ext cx="882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Inventory</a:t>
            </a:r>
          </a:p>
        </p:txBody>
      </p:sp>
      <p:sp>
        <p:nvSpPr>
          <p:cNvPr id="35" name="TextBox 78">
            <a:extLst>
              <a:ext uri="{FF2B5EF4-FFF2-40B4-BE49-F238E27FC236}">
                <a16:creationId xmlns:a16="http://schemas.microsoft.com/office/drawing/2014/main" id="{C56C4D36-E587-44D9-B5F4-3D7DAEC9ED9A}"/>
              </a:ext>
            </a:extLst>
          </p:cNvPr>
          <p:cNvSpPr txBox="1"/>
          <p:nvPr/>
        </p:nvSpPr>
        <p:spPr>
          <a:xfrm>
            <a:off x="5227238" y="5540209"/>
            <a:ext cx="8242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Modules</a:t>
            </a:r>
          </a:p>
        </p:txBody>
      </p:sp>
      <p:sp>
        <p:nvSpPr>
          <p:cNvPr id="36" name="TextBox 79">
            <a:extLst>
              <a:ext uri="{FF2B5EF4-FFF2-40B4-BE49-F238E27FC236}">
                <a16:creationId xmlns:a16="http://schemas.microsoft.com/office/drawing/2014/main" id="{118EC11C-88D2-4AAC-BB7B-70EC1F43D828}"/>
              </a:ext>
            </a:extLst>
          </p:cNvPr>
          <p:cNvSpPr txBox="1"/>
          <p:nvPr/>
        </p:nvSpPr>
        <p:spPr>
          <a:xfrm>
            <a:off x="6313089" y="5544391"/>
            <a:ext cx="5753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Role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5E03928-18B0-4F42-8C3E-DF158B379026}"/>
              </a:ext>
            </a:extLst>
          </p:cNvPr>
          <p:cNvSpPr/>
          <p:nvPr/>
        </p:nvSpPr>
        <p:spPr>
          <a:xfrm>
            <a:off x="3067453" y="4521372"/>
            <a:ext cx="4038600" cy="151791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38" name="TextBox 105">
            <a:extLst>
              <a:ext uri="{FF2B5EF4-FFF2-40B4-BE49-F238E27FC236}">
                <a16:creationId xmlns:a16="http://schemas.microsoft.com/office/drawing/2014/main" id="{7A49FBC1-9A87-452B-A2A9-991BDABD1123}"/>
              </a:ext>
            </a:extLst>
          </p:cNvPr>
          <p:cNvSpPr txBox="1"/>
          <p:nvPr/>
        </p:nvSpPr>
        <p:spPr>
          <a:xfrm>
            <a:off x="3980617" y="4585036"/>
            <a:ext cx="22122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Ansible Automation Engine</a:t>
            </a:r>
          </a:p>
        </p:txBody>
      </p:sp>
    </p:spTree>
    <p:extLst>
      <p:ext uri="{BB962C8B-B14F-4D97-AF65-F5344CB8AC3E}">
        <p14:creationId xmlns:p14="http://schemas.microsoft.com/office/powerpoint/2010/main" val="9341907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9204865"/>
              </p:ext>
            </p:extLst>
          </p:nvPr>
        </p:nvGraphicFramePr>
        <p:xfrm>
          <a:off x="5224" y="1679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5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24" y="1679"/>
                        <a:ext cx="1679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3424F89-B30B-4F57-86A4-863DFB1CCB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47" y="540583"/>
            <a:ext cx="11581528" cy="332399"/>
          </a:xfrm>
        </p:spPr>
        <p:txBody>
          <a:bodyPr vert="horz"/>
          <a:lstStyle/>
          <a:p>
            <a:pPr algn="l"/>
            <a:r>
              <a:rPr lang="en-US" sz="2400" b="1" dirty="0"/>
              <a:t>Flow diagram</a:t>
            </a:r>
            <a:endParaRPr lang="en-DE" sz="2400" b="1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4ABC00-0BC4-4B98-8C5C-7A0882EC0F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Lab Automation with Ansible</a:t>
            </a:r>
          </a:p>
        </p:txBody>
      </p:sp>
      <p:pic>
        <p:nvPicPr>
          <p:cNvPr id="59" name="Picture 58" descr="Diagram&#10;&#10;Description automatically generated">
            <a:extLst>
              <a:ext uri="{FF2B5EF4-FFF2-40B4-BE49-F238E27FC236}">
                <a16:creationId xmlns:a16="http://schemas.microsoft.com/office/drawing/2014/main" id="{E17903F8-4AD5-8C4A-F8DB-851B930C948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91088" y="1371600"/>
            <a:ext cx="2409825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9801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5334605"/>
              </p:ext>
            </p:extLst>
          </p:nvPr>
        </p:nvGraphicFramePr>
        <p:xfrm>
          <a:off x="5224" y="1679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9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24" y="1679"/>
                        <a:ext cx="1679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3424F89-B30B-4F57-86A4-863DFB1CCB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47" y="540583"/>
            <a:ext cx="11581528" cy="332399"/>
          </a:xfrm>
        </p:spPr>
        <p:txBody>
          <a:bodyPr vert="horz"/>
          <a:lstStyle/>
          <a:p>
            <a:pPr algn="l"/>
            <a:r>
              <a:rPr lang="en-US" sz="2400" b="1" dirty="0"/>
              <a:t>Hosts list and ping to all hosts</a:t>
            </a:r>
            <a:endParaRPr lang="en-DE" sz="2400" b="1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4ABC00-0BC4-4B98-8C5C-7A0882EC0F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Lab Automation with Ansible</a:t>
            </a:r>
          </a:p>
        </p:txBody>
      </p:sp>
      <p:pic>
        <p:nvPicPr>
          <p:cNvPr id="8" name="Content Placeholder 6">
            <a:extLst>
              <a:ext uri="{FF2B5EF4-FFF2-40B4-BE49-F238E27FC236}">
                <a16:creationId xmlns:a16="http://schemas.microsoft.com/office/drawing/2014/main" id="{193C0881-1C92-4756-A84B-A2FBE95269FA}"/>
              </a:ext>
            </a:extLst>
          </p:cNvPr>
          <p:cNvPicPr>
            <a:picLocks noGrp="1"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28853" y="2988265"/>
            <a:ext cx="4534293" cy="229381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530107D-2477-4CF7-B2FA-306FBC5BAA2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33512"/>
          <a:stretch/>
        </p:blipFill>
        <p:spPr>
          <a:xfrm>
            <a:off x="2595614" y="1575916"/>
            <a:ext cx="7000772" cy="873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1774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0624054"/>
              </p:ext>
            </p:extLst>
          </p:nvPr>
        </p:nvGraphicFramePr>
        <p:xfrm>
          <a:off x="5224" y="1679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3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24" y="1679"/>
                        <a:ext cx="1679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3424F89-B30B-4F57-86A4-863DFB1CCB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47" y="540583"/>
            <a:ext cx="11581528" cy="332399"/>
          </a:xfrm>
        </p:spPr>
        <p:txBody>
          <a:bodyPr vert="horz"/>
          <a:lstStyle/>
          <a:p>
            <a:pPr algn="l"/>
            <a:r>
              <a:rPr lang="en-US" sz="2400" b="1" dirty="0"/>
              <a:t>Playbook: </a:t>
            </a:r>
            <a:r>
              <a:rPr lang="en-US" sz="2400" b="1" dirty="0" err="1"/>
              <a:t>mme_status.yml</a:t>
            </a:r>
            <a:endParaRPr lang="en-DE" sz="2400" b="1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4ABC00-0BC4-4B98-8C5C-7A0882EC0F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Lab Automation with Ansib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E611351-23A3-4F51-ACAB-BB6C7CECC5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68661" y="2281211"/>
            <a:ext cx="7654677" cy="2295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3183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2700449"/>
              </p:ext>
            </p:extLst>
          </p:nvPr>
        </p:nvGraphicFramePr>
        <p:xfrm>
          <a:off x="5224" y="1679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5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24" y="1679"/>
                        <a:ext cx="1679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3424F89-B30B-4F57-86A4-863DFB1CCB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47" y="540583"/>
            <a:ext cx="11581528" cy="332399"/>
          </a:xfrm>
        </p:spPr>
        <p:txBody>
          <a:bodyPr vert="horz"/>
          <a:lstStyle/>
          <a:p>
            <a:pPr algn="l"/>
            <a:r>
              <a:rPr lang="en-US" sz="2400" b="1" dirty="0" err="1"/>
              <a:t>mme_status</a:t>
            </a:r>
            <a:r>
              <a:rPr lang="en-US" sz="2400" b="1" dirty="0"/>
              <a:t> output</a:t>
            </a:r>
            <a:endParaRPr lang="en-DE" sz="2400" b="1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4ABC00-0BC4-4B98-8C5C-7A0882EC0F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Lab Automation with Ansib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062907B-6C7A-4862-A3C4-94DD112B69E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8200" y="994808"/>
            <a:ext cx="10515600" cy="524091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8AA45D3-ADCA-7C04-9B66-0B3A65DD301C}"/>
              </a:ext>
            </a:extLst>
          </p:cNvPr>
          <p:cNvSpPr/>
          <p:nvPr/>
        </p:nvSpPr>
        <p:spPr>
          <a:xfrm>
            <a:off x="1601701" y="3186404"/>
            <a:ext cx="1580037" cy="13529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buClr>
                <a:schemeClr val="tx1"/>
              </a:buClr>
              <a:buSzPct val="80000"/>
              <a:buFont typeface="Wingdings 2" panose="05020102010507070707" pitchFamily="18" charset="2"/>
              <a:buChar char="¡"/>
            </a:pPr>
            <a:endParaRPr lang="en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6957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1954688"/>
              </p:ext>
            </p:extLst>
          </p:nvPr>
        </p:nvGraphicFramePr>
        <p:xfrm>
          <a:off x="5224" y="1679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7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24" y="1679"/>
                        <a:ext cx="1679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3424F89-B30B-4F57-86A4-863DFB1CCB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47" y="540583"/>
            <a:ext cx="11581528" cy="332399"/>
          </a:xfrm>
        </p:spPr>
        <p:txBody>
          <a:bodyPr vert="horz"/>
          <a:lstStyle/>
          <a:p>
            <a:pPr algn="l"/>
            <a:r>
              <a:rPr lang="en-US" sz="2400" b="1" dirty="0"/>
              <a:t>UE list</a:t>
            </a:r>
            <a:endParaRPr lang="en-DE" sz="2400" b="1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4ABC00-0BC4-4B98-8C5C-7A0882EC0F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Lab Automation with Ansible</a:t>
            </a:r>
          </a:p>
        </p:txBody>
      </p:sp>
      <p:pic>
        <p:nvPicPr>
          <p:cNvPr id="8" name="Content Placeholder 4">
            <a:extLst>
              <a:ext uri="{FF2B5EF4-FFF2-40B4-BE49-F238E27FC236}">
                <a16:creationId xmlns:a16="http://schemas.microsoft.com/office/drawing/2014/main" id="{97681731-E535-4DA9-BBC3-89778EA5E3E2}"/>
              </a:ext>
            </a:extLst>
          </p:cNvPr>
          <p:cNvPicPr>
            <a:picLocks noGrp="1"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33341" y="1771507"/>
            <a:ext cx="7125317" cy="331498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0EE3A1A-7D1D-787E-831D-4EBCFBAAFB34}"/>
              </a:ext>
            </a:extLst>
          </p:cNvPr>
          <p:cNvSpPr/>
          <p:nvPr/>
        </p:nvSpPr>
        <p:spPr>
          <a:xfrm>
            <a:off x="3010624" y="3890866"/>
            <a:ext cx="563000" cy="24259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buClr>
                <a:schemeClr val="tx1"/>
              </a:buClr>
              <a:buSzPct val="80000"/>
              <a:buFont typeface="Wingdings 2" panose="05020102010507070707" pitchFamily="18" charset="2"/>
              <a:buChar char="¡"/>
            </a:pPr>
            <a:endParaRPr lang="en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0128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8841268"/>
              </p:ext>
            </p:extLst>
          </p:nvPr>
        </p:nvGraphicFramePr>
        <p:xfrm>
          <a:off x="5224" y="1679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1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24" y="1679"/>
                        <a:ext cx="1679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3424F89-B30B-4F57-86A4-863DFB1CCB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47" y="540583"/>
            <a:ext cx="11581528" cy="332399"/>
          </a:xfrm>
        </p:spPr>
        <p:txBody>
          <a:bodyPr vert="horz"/>
          <a:lstStyle/>
          <a:p>
            <a:pPr algn="l"/>
            <a:r>
              <a:rPr lang="en-US" sz="2400" b="1" dirty="0"/>
              <a:t>IP tables</a:t>
            </a:r>
            <a:endParaRPr lang="en-DE" sz="2400" b="1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4ABC00-0BC4-4B98-8C5C-7A0882EC0F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Lab Automation with Ansib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7FDE9A-D941-4E30-BE2E-D8E607BCAF8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67110" y="872982"/>
            <a:ext cx="6656802" cy="5319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8103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6031487"/>
              </p:ext>
            </p:extLst>
          </p:nvPr>
        </p:nvGraphicFramePr>
        <p:xfrm>
          <a:off x="5224" y="1679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9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24" y="1679"/>
                        <a:ext cx="1679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3424F89-B30B-4F57-86A4-863DFB1CCB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47" y="540583"/>
            <a:ext cx="11581528" cy="332399"/>
          </a:xfrm>
        </p:spPr>
        <p:txBody>
          <a:bodyPr vert="horz"/>
          <a:lstStyle/>
          <a:p>
            <a:pPr algn="l"/>
            <a:r>
              <a:rPr lang="en-US" sz="2400" b="1" dirty="0"/>
              <a:t>Starting </a:t>
            </a:r>
            <a:r>
              <a:rPr lang="en-US" sz="2400" b="1" dirty="0" err="1"/>
              <a:t>eNodeB</a:t>
            </a:r>
            <a:r>
              <a:rPr lang="en-US" sz="2400" b="1" dirty="0"/>
              <a:t> and attaching UE</a:t>
            </a:r>
            <a:endParaRPr lang="en-DE" sz="2400" b="1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4ABC00-0BC4-4B98-8C5C-7A0882EC0F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Lab Automation with Ansib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E31FBA2-4693-4F0E-ACD5-0907218BAF3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6704"/>
          <a:stretch/>
        </p:blipFill>
        <p:spPr>
          <a:xfrm>
            <a:off x="1147665" y="959174"/>
            <a:ext cx="9896669" cy="519365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41F3F0B-86E1-908A-B483-D453029A2627}"/>
              </a:ext>
            </a:extLst>
          </p:cNvPr>
          <p:cNvSpPr/>
          <p:nvPr/>
        </p:nvSpPr>
        <p:spPr>
          <a:xfrm>
            <a:off x="9924607" y="4483358"/>
            <a:ext cx="749613" cy="14793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buClr>
                <a:schemeClr val="tx1"/>
              </a:buClr>
              <a:buSzPct val="80000"/>
              <a:buFont typeface="Wingdings 2" panose="05020102010507070707" pitchFamily="18" charset="2"/>
              <a:buChar char="¡"/>
            </a:pP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290143B-6495-7714-4E2F-B83E9F094376}"/>
              </a:ext>
            </a:extLst>
          </p:cNvPr>
          <p:cNvSpPr/>
          <p:nvPr/>
        </p:nvSpPr>
        <p:spPr>
          <a:xfrm>
            <a:off x="7940297" y="4387516"/>
            <a:ext cx="1492461" cy="14793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indent="-182563" algn="l">
              <a:buClr>
                <a:schemeClr val="tx1"/>
              </a:buClr>
              <a:buSzPct val="80000"/>
              <a:buFont typeface="Wingdings 2" panose="05020102010507070707" pitchFamily="18" charset="2"/>
              <a:buChar char="¡"/>
            </a:pPr>
            <a:endParaRPr lang="en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45607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80"/>
  <p:tag name="ARTICULATE_PROJECT_OPEN" val="0"/>
  <p:tag name="THINKCELLPRESENTATIONDONOTDELETE" val="&lt;?xml version=&quot;1.0&quot; encoding=&quot;UTF-16&quot; standalone=&quot;yes&quot;?&gt;&lt;root reqver=&quot;25060&quot;&gt;&lt;version val=&quot;2841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3.14659000000000022013E+00&quot;&gt;&lt;m_msothmcolidx val=&quot;0&quot;/&gt;&lt;m_rgb r=&quot;38&quot; g=&quot;93&quot; b=&quot;DC&quot;/&gt;&lt;m_nBrightness endver=&quot;26206&quot; val=&quot;0&quot;/&gt;&lt;/elem&gt;&lt;elem m_fUsage=&quot;1.53899999999999992362E+00&quot;&gt;&lt;m_msothmcolidx val=&quot;0&quot;/&gt;&lt;m_rgb r=&quot;77&quot; g=&quot;C8&quot; b=&quot;F5&quot;/&gt;&lt;m_nBrightness endver=&quot;26206&quot; val=&quot;0&quot;/&gt;&lt;/elem&gt;&lt;elem m_fUsage=&quot;5.31441000000000163261E-01&quot;&gt;&lt;m_msothmcolidx val=&quot;0&quot;/&gt;&lt;m_rgb r=&quot;12&quot; g=&quot;27&quot; b=&quot;69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qM2jd3VyOy17YshemcU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qM2jd3VyOy17YshemcU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qM2jd3VyOy17YshemcU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qM2jd3VyOy17YshemcU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tecon_Master">
  <a:themeElements>
    <a:clrScheme name="Detecon_new8">
      <a:dk1>
        <a:srgbClr val="4D4D4D"/>
      </a:dk1>
      <a:lt1>
        <a:srgbClr val="FFFFFF"/>
      </a:lt1>
      <a:dk2>
        <a:srgbClr val="D1D1D1"/>
      </a:dk2>
      <a:lt2>
        <a:srgbClr val="F0F0F0"/>
      </a:lt2>
      <a:accent1>
        <a:srgbClr val="A1A1A1"/>
      </a:accent1>
      <a:accent2>
        <a:srgbClr val="B7E4EF"/>
      </a:accent2>
      <a:accent3>
        <a:srgbClr val="2DA8C5"/>
      </a:accent3>
      <a:accent4>
        <a:srgbClr val="63C0F3"/>
      </a:accent4>
      <a:accent5>
        <a:srgbClr val="1063AD"/>
      </a:accent5>
      <a:accent6>
        <a:srgbClr val="122769"/>
      </a:accent6>
      <a:hlink>
        <a:srgbClr val="122769"/>
      </a:hlink>
      <a:folHlink>
        <a:srgbClr val="1063AD"/>
      </a:folHlink>
    </a:clrScheme>
    <a:fontScheme name="Detec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2563" indent="-182563" algn="l">
          <a:buClr>
            <a:schemeClr val="tx1"/>
          </a:buClr>
          <a:buSzPct val="80000"/>
          <a:buFont typeface="Wingdings 2" panose="05020102010507070707" pitchFamily="18" charset="2"/>
          <a:buChar char="¡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975" indent="-180975">
          <a:buClr>
            <a:schemeClr val="tx1"/>
          </a:buClr>
          <a:buSzPct val="80000"/>
          <a:buFont typeface="Wingdings 2" panose="05020102010507070707" pitchFamily="18" charset="2"/>
          <a:buChar char="¡"/>
          <a:defRPr sz="1400" dirty="0"/>
        </a:defPPr>
      </a:lstStyle>
    </a:txDef>
  </a:objectDefaults>
  <a:extraClrSchemeLst/>
  <a:custClrLst>
    <a:custClr name="Berry">
      <a:srgbClr val="9B3F5D"/>
    </a:custClr>
    <a:custClr name="Green">
      <a:srgbClr val="62BDA4"/>
    </a:custClr>
    <a:custClr name="Orange">
      <a:srgbClr val="FF8C00"/>
    </a:custClr>
    <a:custClr name="Blue">
      <a:srgbClr val="0A9FD5"/>
    </a:custClr>
    <a:custClr name="White">
      <a:srgbClr val="FFFFFF"/>
    </a:custClr>
    <a:custClr name="White">
      <a:srgbClr val="FFFFFF"/>
    </a:custClr>
    <a:custClr name="White">
      <a:srgbClr val="FFFFFF"/>
    </a:custClr>
    <a:custClr name="Ampel Green">
      <a:srgbClr val="339933"/>
    </a:custClr>
    <a:custClr name="Ampel Red">
      <a:srgbClr val="CC0000"/>
    </a:custClr>
    <a:custClr name="Ampel Yellow">
      <a:srgbClr val="FFD22D"/>
    </a:custClr>
  </a:custClrLst>
  <a:extLst>
    <a:ext uri="{05A4C25C-085E-4340-85A3-A5531E510DB2}">
      <thm15:themeFamily xmlns:thm15="http://schemas.microsoft.com/office/thememl/2012/main" name="blank.potx" id="{302F7CC8-ABE3-4B1C-B1D2-45BC49D72F47}" vid="{194BFC75-C699-4C5E-AE1A-2C846D13E927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84F8DC3C1879C42AF40B17382664691" ma:contentTypeVersion="12" ma:contentTypeDescription="Ein neues Dokument erstellen." ma:contentTypeScope="" ma:versionID="3a398962c036718b9b55da3afe707e9d">
  <xsd:schema xmlns:xsd="http://www.w3.org/2001/XMLSchema" xmlns:xs="http://www.w3.org/2001/XMLSchema" xmlns:p="http://schemas.microsoft.com/office/2006/metadata/properties" xmlns:ns2="af89281c-bbff-4e2b-b1f5-9563d21db32c" xmlns:ns3="f0a8424d-427b-4930-905c-7a094b12c30e" targetNamespace="http://schemas.microsoft.com/office/2006/metadata/properties" ma:root="true" ma:fieldsID="9e2ed2c627802455164069d69ca302a4" ns2:_="" ns3:_="">
    <xsd:import namespace="af89281c-bbff-4e2b-b1f5-9563d21db32c"/>
    <xsd:import namespace="f0a8424d-427b-4930-905c-7a094b12c30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89281c-bbff-4e2b-b1f5-9563d21db32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0a8424d-427b-4930-905c-7a094b12c30e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9F123F0-E06E-48A9-9963-A392D1A179D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f89281c-bbff-4e2b-b1f5-9563d21db32c"/>
    <ds:schemaRef ds:uri="f0a8424d-427b-4930-905c-7a094b12c30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3D87C30-6917-4C32-9E72-1F23E0079FE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553B4FD-7E4C-485C-AD6E-B40343EBAAD3}">
  <ds:schemaRefs>
    <ds:schemaRef ds:uri="http://schemas.microsoft.com/office/2006/metadata/properties"/>
    <ds:schemaRef ds:uri="http://purl.org/dc/elements/1.1/"/>
    <ds:schemaRef ds:uri="http://www.w3.org/XML/1998/namespace"/>
    <ds:schemaRef ds:uri="f0a8424d-427b-4930-905c-7a094b12c30e"/>
    <ds:schemaRef ds:uri="http://purl.org/dc/terms/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af89281c-bbff-4e2b-b1f5-9563d21db32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59</Words>
  <Application>Microsoft Office PowerPoint</Application>
  <PresentationFormat>Widescreen</PresentationFormat>
  <Paragraphs>89</Paragraphs>
  <Slides>19</Slides>
  <Notes>15</Notes>
  <HiddenSlides>5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3" baseType="lpstr">
      <vt:lpstr>Arial</vt:lpstr>
      <vt:lpstr>Wingdings 2</vt:lpstr>
      <vt:lpstr>Detecon_Master</vt:lpstr>
      <vt:lpstr>think-cell Slide</vt:lpstr>
      <vt:lpstr>Lab Automation with Ansible</vt:lpstr>
      <vt:lpstr>Connection diagram</vt:lpstr>
      <vt:lpstr>Flow diagram</vt:lpstr>
      <vt:lpstr>Hosts list and ping to all hosts</vt:lpstr>
      <vt:lpstr>Playbook: mme_status.yml</vt:lpstr>
      <vt:lpstr>mme_status output</vt:lpstr>
      <vt:lpstr>UE list</vt:lpstr>
      <vt:lpstr>IP tables</vt:lpstr>
      <vt:lpstr>Starting eNodeB and attaching UE</vt:lpstr>
      <vt:lpstr>Nested Playbook</vt:lpstr>
      <vt:lpstr>Nested Playbook output (1/2)</vt:lpstr>
      <vt:lpstr>Nested Playbook output (2/2)</vt:lpstr>
      <vt:lpstr>Flow diagram</vt:lpstr>
      <vt:lpstr>Flow diagram</vt:lpstr>
      <vt:lpstr>PowerPoint Presentation</vt:lpstr>
      <vt:lpstr>PowerPoint Presentation</vt:lpstr>
      <vt:lpstr>Agenda</vt:lpstr>
      <vt:lpstr>PowerPoint Presentation</vt:lpstr>
      <vt:lpstr>Thank you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b Automation</dc:title>
  <dc:creator>Harshal Rajan Vaze</dc:creator>
  <cp:lastModifiedBy>Harshal Vaze</cp:lastModifiedBy>
  <cp:revision>8</cp:revision>
  <cp:lastPrinted>2016-06-09T08:54:05Z</cp:lastPrinted>
  <dcterms:created xsi:type="dcterms:W3CDTF">2022-05-09T13:42:02Z</dcterms:created>
  <dcterms:modified xsi:type="dcterms:W3CDTF">2022-05-10T14:18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20EAEFB-FF5B-4D33-8A95-6753C11B132A</vt:lpwstr>
  </property>
  <property fmtid="{D5CDD505-2E9C-101B-9397-08002B2CF9AE}" pid="3" name="ArticulatePath">
    <vt:lpwstr>Detecon_PPT_Template_16-9_EN_05_Slidepool</vt:lpwstr>
  </property>
  <property fmtid="{D5CDD505-2E9C-101B-9397-08002B2CF9AE}" pid="4" name="ContentTypeId">
    <vt:lpwstr>0x010100E84F8DC3C1879C42AF40B17382664691</vt:lpwstr>
  </property>
</Properties>
</file>